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9"/>
    <p:sldMasterId id="2147483708" r:id="rId10"/>
  </p:sldMasterIdLst>
  <p:notesMasterIdLst>
    <p:notesMasterId r:id="rId24"/>
  </p:notesMasterIdLst>
  <p:sldIdLst>
    <p:sldId id="1061" r:id="rId11"/>
    <p:sldId id="471" r:id="rId12"/>
    <p:sldId id="274" r:id="rId13"/>
    <p:sldId id="492" r:id="rId14"/>
    <p:sldId id="692" r:id="rId15"/>
    <p:sldId id="1056" r:id="rId16"/>
    <p:sldId id="679" r:id="rId17"/>
    <p:sldId id="680" r:id="rId18"/>
    <p:sldId id="681" r:id="rId19"/>
    <p:sldId id="472" r:id="rId20"/>
    <p:sldId id="1062" r:id="rId21"/>
    <p:sldId id="1064" r:id="rId22"/>
    <p:sldId id="1065" r:id="rId23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343F"/>
    <a:srgbClr val="4080BF"/>
    <a:srgbClr val="00FF00"/>
    <a:srgbClr val="FFAA22"/>
    <a:srgbClr val="F0EAF0"/>
    <a:srgbClr val="00B2BA"/>
    <a:srgbClr val="FFF7E9"/>
    <a:srgbClr val="E6EEF7"/>
    <a:srgbClr val="808080"/>
    <a:srgbClr val="9292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3891" autoAdjust="0"/>
  </p:normalViewPr>
  <p:slideViewPr>
    <p:cSldViewPr>
      <p:cViewPr>
        <p:scale>
          <a:sx n="48" d="100"/>
          <a:sy n="48" d="100"/>
        </p:scale>
        <p:origin x="878" y="86"/>
      </p:cViewPr>
      <p:guideLst/>
    </p:cSldViewPr>
  </p:slideViewPr>
  <p:outlineViewPr>
    <p:cViewPr>
      <p:scale>
        <a:sx n="33" d="100"/>
        <a:sy n="33" d="100"/>
      </p:scale>
      <p:origin x="0" y="-135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388"/>
    </p:cViewPr>
  </p:sorterViewPr>
  <p:notesViewPr>
    <p:cSldViewPr>
      <p:cViewPr>
        <p:scale>
          <a:sx n="66" d="100"/>
          <a:sy n="66" d="100"/>
        </p:scale>
        <p:origin x="2386" y="-521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customXml" Target="../customXml/item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2.xml"/><Relationship Id="rId19" Type="http://schemas.openxmlformats.org/officeDocument/2006/relationships/slide" Target="slides/slide9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2AF254-B346-4387-80A8-C041D15CD907}" type="doc">
      <dgm:prSet loTypeId="urn:microsoft.com/office/officeart/2005/8/layout/h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1BA52784-7C8C-46B0-AAD9-8A956DDF5832}">
      <dgm:prSet phldrT="[Text]" custT="1"/>
      <dgm:spPr/>
      <dgm:t>
        <a:bodyPr/>
        <a:lstStyle/>
        <a:p>
          <a:pPr>
            <a:lnSpc>
              <a:spcPct val="150000"/>
            </a:lnSpc>
          </a:pPr>
          <a:r>
            <a:rPr lang="en-GB" sz="2400" b="0" dirty="0"/>
            <a:t>Data Use for action and Improvement </a:t>
          </a:r>
          <a:r>
            <a:rPr lang="en-GB" sz="2400" b="1" dirty="0"/>
            <a:t>(DUFAI)</a:t>
          </a:r>
        </a:p>
      </dgm:t>
    </dgm:pt>
    <dgm:pt modelId="{93C69731-3393-4909-A698-CB1219703D2E}" type="parTrans" cxnId="{D67C60DB-B0C8-4308-AE2C-A1E5817B865B}">
      <dgm:prSet/>
      <dgm:spPr/>
      <dgm:t>
        <a:bodyPr/>
        <a:lstStyle/>
        <a:p>
          <a:endParaRPr lang="en-GB"/>
        </a:p>
      </dgm:t>
    </dgm:pt>
    <dgm:pt modelId="{608D103F-C399-45DB-922C-9AC62620E4DA}" type="sibTrans" cxnId="{D67C60DB-B0C8-4308-AE2C-A1E5817B865B}">
      <dgm:prSet/>
      <dgm:spPr/>
      <dgm:t>
        <a:bodyPr/>
        <a:lstStyle/>
        <a:p>
          <a:endParaRPr lang="en-GB"/>
        </a:p>
      </dgm:t>
    </dgm:pt>
    <dgm:pt modelId="{373BCCFE-1C97-4931-B24F-625744C43BEC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GB" dirty="0"/>
            <a:t>Risk management</a:t>
          </a:r>
        </a:p>
      </dgm:t>
    </dgm:pt>
    <dgm:pt modelId="{419C2530-6A8A-4040-8962-46E7EEB77548}" type="parTrans" cxnId="{E8F43E31-F700-4322-916C-B7B785949DA8}">
      <dgm:prSet/>
      <dgm:spPr/>
      <dgm:t>
        <a:bodyPr/>
        <a:lstStyle/>
        <a:p>
          <a:endParaRPr lang="en-GB"/>
        </a:p>
      </dgm:t>
    </dgm:pt>
    <dgm:pt modelId="{35CF442F-C941-4998-85CF-D4B73D1191ED}" type="sibTrans" cxnId="{E8F43E31-F700-4322-916C-B7B785949DA8}">
      <dgm:prSet/>
      <dgm:spPr/>
      <dgm:t>
        <a:bodyPr/>
        <a:lstStyle/>
        <a:p>
          <a:endParaRPr lang="en-GB"/>
        </a:p>
      </dgm:t>
    </dgm:pt>
    <dgm:pt modelId="{E02461F6-FA28-4E10-9C8D-F0DAFDF2D33F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GB" dirty="0"/>
            <a:t>GF Strategy and Strategic Priorities</a:t>
          </a:r>
        </a:p>
      </dgm:t>
    </dgm:pt>
    <dgm:pt modelId="{ECAF8C18-1953-468A-81F1-A82167C33B51}" type="parTrans" cxnId="{D441D0AD-FCD2-4136-A6E3-CBF83DD74541}">
      <dgm:prSet/>
      <dgm:spPr/>
      <dgm:t>
        <a:bodyPr/>
        <a:lstStyle/>
        <a:p>
          <a:endParaRPr lang="en-GB"/>
        </a:p>
      </dgm:t>
    </dgm:pt>
    <dgm:pt modelId="{69C33F5C-F02A-4DFF-BDAF-E395542FC370}" type="sibTrans" cxnId="{D441D0AD-FCD2-4136-A6E3-CBF83DD74541}">
      <dgm:prSet/>
      <dgm:spPr/>
      <dgm:t>
        <a:bodyPr/>
        <a:lstStyle/>
        <a:p>
          <a:endParaRPr lang="en-GB"/>
        </a:p>
      </dgm:t>
    </dgm:pt>
    <dgm:pt modelId="{EB7A99A3-7226-4C32-A405-8A859C3B40FF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dirty="0"/>
            <a:t>KPI framework</a:t>
          </a:r>
          <a:endParaRPr lang="en-GB" b="1" dirty="0"/>
        </a:p>
      </dgm:t>
    </dgm:pt>
    <dgm:pt modelId="{FED9137A-02A3-484C-861E-F4E01F240F1A}" type="parTrans" cxnId="{3B619E9B-C972-4333-B114-B118F8F22A37}">
      <dgm:prSet/>
      <dgm:spPr/>
      <dgm:t>
        <a:bodyPr/>
        <a:lstStyle/>
        <a:p>
          <a:endParaRPr lang="en-GB"/>
        </a:p>
      </dgm:t>
    </dgm:pt>
    <dgm:pt modelId="{8A28A328-6617-4F70-B147-C730BFB6473C}" type="sibTrans" cxnId="{3B619E9B-C972-4333-B114-B118F8F22A37}">
      <dgm:prSet/>
      <dgm:spPr/>
      <dgm:t>
        <a:bodyPr/>
        <a:lstStyle/>
        <a:p>
          <a:endParaRPr lang="en-GB"/>
        </a:p>
      </dgm:t>
    </dgm:pt>
    <dgm:pt modelId="{04107985-DB2E-423D-A618-BE1803F26972}">
      <dgm:prSet phldrT="[Text]"/>
      <dgm:spPr/>
      <dgm:t>
        <a:bodyPr/>
        <a:lstStyle/>
        <a:p>
          <a:pPr>
            <a:lnSpc>
              <a:spcPct val="150000"/>
            </a:lnSpc>
          </a:pPr>
          <a:r>
            <a:rPr lang="en-GB" dirty="0"/>
            <a:t>Key metrics and sources of funding (OPEX, Grants)</a:t>
          </a:r>
        </a:p>
      </dgm:t>
    </dgm:pt>
    <dgm:pt modelId="{FE3948FC-F157-4569-88B1-9A5B1F8BCE6E}" type="parTrans" cxnId="{DAE3C62D-463B-4A91-85F7-DBFD4C73FF80}">
      <dgm:prSet/>
      <dgm:spPr/>
      <dgm:t>
        <a:bodyPr/>
        <a:lstStyle/>
        <a:p>
          <a:endParaRPr lang="en-GB"/>
        </a:p>
      </dgm:t>
    </dgm:pt>
    <dgm:pt modelId="{FDB2C99E-54E4-4166-A81E-718CBE0C50B8}" type="sibTrans" cxnId="{DAE3C62D-463B-4A91-85F7-DBFD4C73FF80}">
      <dgm:prSet/>
      <dgm:spPr/>
      <dgm:t>
        <a:bodyPr/>
        <a:lstStyle/>
        <a:p>
          <a:endParaRPr lang="en-GB"/>
        </a:p>
      </dgm:t>
    </dgm:pt>
    <dgm:pt modelId="{628D703F-9DA5-4CE0-92F1-49C047D3616F}" type="pres">
      <dgm:prSet presAssocID="{582AF254-B346-4387-80A8-C041D15CD907}" presName="Name0" presStyleCnt="0">
        <dgm:presLayoutVars>
          <dgm:dir/>
          <dgm:resizeHandles val="exact"/>
        </dgm:presLayoutVars>
      </dgm:prSet>
      <dgm:spPr/>
    </dgm:pt>
    <dgm:pt modelId="{CFC483C0-29B2-4011-854D-2CA1588EBC41}" type="pres">
      <dgm:prSet presAssocID="{1BA52784-7C8C-46B0-AAD9-8A956DDF5832}" presName="node" presStyleLbl="node1" presStyleIdx="0" presStyleCnt="5" custLinFactX="199188" custLinFactNeighborX="200000" custLinFactNeighborY="1602">
        <dgm:presLayoutVars>
          <dgm:bulletEnabled val="1"/>
        </dgm:presLayoutVars>
      </dgm:prSet>
      <dgm:spPr/>
    </dgm:pt>
    <dgm:pt modelId="{D1174038-A578-45C4-B6E0-A340FF4BB349}" type="pres">
      <dgm:prSet presAssocID="{608D103F-C399-45DB-922C-9AC62620E4DA}" presName="sibTrans" presStyleCnt="0"/>
      <dgm:spPr/>
    </dgm:pt>
    <dgm:pt modelId="{F5B07372-C722-4B56-8991-A0FDA5F0FE94}" type="pres">
      <dgm:prSet presAssocID="{373BCCFE-1C97-4931-B24F-625744C43BEC}" presName="node" presStyleLbl="node1" presStyleIdx="1" presStyleCnt="5" custLinFactX="198188" custLinFactNeighborX="200000" custLinFactNeighborY="1602">
        <dgm:presLayoutVars>
          <dgm:bulletEnabled val="1"/>
        </dgm:presLayoutVars>
      </dgm:prSet>
      <dgm:spPr/>
    </dgm:pt>
    <dgm:pt modelId="{8008C777-4581-4291-B430-9ACB72B2B5F4}" type="pres">
      <dgm:prSet presAssocID="{35CF442F-C941-4998-85CF-D4B73D1191ED}" presName="sibTrans" presStyleCnt="0"/>
      <dgm:spPr/>
    </dgm:pt>
    <dgm:pt modelId="{8726CBA2-DA39-446D-A852-0A7FB7328229}" type="pres">
      <dgm:prSet presAssocID="{E02461F6-FA28-4E10-9C8D-F0DAFDF2D33F}" presName="node" presStyleLbl="node1" presStyleIdx="2" presStyleCnt="5" custLinFactX="-200000" custLinFactNeighborX="-252487" custLinFactNeighborY="1602">
        <dgm:presLayoutVars>
          <dgm:bulletEnabled val="1"/>
        </dgm:presLayoutVars>
      </dgm:prSet>
      <dgm:spPr/>
    </dgm:pt>
    <dgm:pt modelId="{6B3788B8-05AD-4E4F-B4F5-E55A36954F87}" type="pres">
      <dgm:prSet presAssocID="{69C33F5C-F02A-4DFF-BDAF-E395542FC370}" presName="sibTrans" presStyleCnt="0"/>
      <dgm:spPr/>
    </dgm:pt>
    <dgm:pt modelId="{8970034F-B317-40BC-9933-34877985F591}" type="pres">
      <dgm:prSet presAssocID="{04107985-DB2E-423D-A618-BE1803F26972}" presName="node" presStyleLbl="node1" presStyleIdx="3" presStyleCnt="5" custLinFactX="100102" custLinFactNeighborX="200000" custLinFactNeighborY="5163">
        <dgm:presLayoutVars>
          <dgm:bulletEnabled val="1"/>
        </dgm:presLayoutVars>
      </dgm:prSet>
      <dgm:spPr/>
    </dgm:pt>
    <dgm:pt modelId="{AF01EAB2-4B1F-4143-8ABF-AA5C2C29DCB6}" type="pres">
      <dgm:prSet presAssocID="{FDB2C99E-54E4-4166-A81E-718CBE0C50B8}" presName="sibTrans" presStyleCnt="0"/>
      <dgm:spPr/>
    </dgm:pt>
    <dgm:pt modelId="{BB010AE6-EC75-4939-B5C7-1B8BB4FB9C34}" type="pres">
      <dgm:prSet presAssocID="{EB7A99A3-7226-4C32-A405-8A859C3B40FF}" presName="node" presStyleLbl="node1" presStyleIdx="4" presStyleCnt="5" custLinFactX="-300000" custLinFactNeighborX="-302891" custLinFactNeighborY="1602">
        <dgm:presLayoutVars>
          <dgm:bulletEnabled val="1"/>
        </dgm:presLayoutVars>
      </dgm:prSet>
      <dgm:spPr/>
    </dgm:pt>
  </dgm:ptLst>
  <dgm:cxnLst>
    <dgm:cxn modelId="{0510C914-9D21-41FA-A528-5A85CF5DC922}" type="presOf" srcId="{04107985-DB2E-423D-A618-BE1803F26972}" destId="{8970034F-B317-40BC-9933-34877985F591}" srcOrd="0" destOrd="0" presId="urn:microsoft.com/office/officeart/2005/8/layout/hList6"/>
    <dgm:cxn modelId="{DAE3C62D-463B-4A91-85F7-DBFD4C73FF80}" srcId="{582AF254-B346-4387-80A8-C041D15CD907}" destId="{04107985-DB2E-423D-A618-BE1803F26972}" srcOrd="3" destOrd="0" parTransId="{FE3948FC-F157-4569-88B1-9A5B1F8BCE6E}" sibTransId="{FDB2C99E-54E4-4166-A81E-718CBE0C50B8}"/>
    <dgm:cxn modelId="{E8F43E31-F700-4322-916C-B7B785949DA8}" srcId="{582AF254-B346-4387-80A8-C041D15CD907}" destId="{373BCCFE-1C97-4931-B24F-625744C43BEC}" srcOrd="1" destOrd="0" parTransId="{419C2530-6A8A-4040-8962-46E7EEB77548}" sibTransId="{35CF442F-C941-4998-85CF-D4B73D1191ED}"/>
    <dgm:cxn modelId="{43AFA742-E80A-4CFA-8070-E380107D9F3C}" type="presOf" srcId="{1BA52784-7C8C-46B0-AAD9-8A956DDF5832}" destId="{CFC483C0-29B2-4011-854D-2CA1588EBC41}" srcOrd="0" destOrd="0" presId="urn:microsoft.com/office/officeart/2005/8/layout/hList6"/>
    <dgm:cxn modelId="{B3E04D9B-8AC8-4F27-BF12-69E20463B257}" type="presOf" srcId="{582AF254-B346-4387-80A8-C041D15CD907}" destId="{628D703F-9DA5-4CE0-92F1-49C047D3616F}" srcOrd="0" destOrd="0" presId="urn:microsoft.com/office/officeart/2005/8/layout/hList6"/>
    <dgm:cxn modelId="{3B619E9B-C972-4333-B114-B118F8F22A37}" srcId="{582AF254-B346-4387-80A8-C041D15CD907}" destId="{EB7A99A3-7226-4C32-A405-8A859C3B40FF}" srcOrd="4" destOrd="0" parTransId="{FED9137A-02A3-484C-861E-F4E01F240F1A}" sibTransId="{8A28A328-6617-4F70-B147-C730BFB6473C}"/>
    <dgm:cxn modelId="{5600AEA3-FF15-47CA-B369-BDBC1967DC85}" type="presOf" srcId="{373BCCFE-1C97-4931-B24F-625744C43BEC}" destId="{F5B07372-C722-4B56-8991-A0FDA5F0FE94}" srcOrd="0" destOrd="0" presId="urn:microsoft.com/office/officeart/2005/8/layout/hList6"/>
    <dgm:cxn modelId="{D441D0AD-FCD2-4136-A6E3-CBF83DD74541}" srcId="{582AF254-B346-4387-80A8-C041D15CD907}" destId="{E02461F6-FA28-4E10-9C8D-F0DAFDF2D33F}" srcOrd="2" destOrd="0" parTransId="{ECAF8C18-1953-468A-81F1-A82167C33B51}" sibTransId="{69C33F5C-F02A-4DFF-BDAF-E395542FC370}"/>
    <dgm:cxn modelId="{60FCA3BA-95EA-49DF-BDF0-C13EC7E2D42F}" type="presOf" srcId="{EB7A99A3-7226-4C32-A405-8A859C3B40FF}" destId="{BB010AE6-EC75-4939-B5C7-1B8BB4FB9C34}" srcOrd="0" destOrd="0" presId="urn:microsoft.com/office/officeart/2005/8/layout/hList6"/>
    <dgm:cxn modelId="{D67C60DB-B0C8-4308-AE2C-A1E5817B865B}" srcId="{582AF254-B346-4387-80A8-C041D15CD907}" destId="{1BA52784-7C8C-46B0-AAD9-8A956DDF5832}" srcOrd="0" destOrd="0" parTransId="{93C69731-3393-4909-A698-CB1219703D2E}" sibTransId="{608D103F-C399-45DB-922C-9AC62620E4DA}"/>
    <dgm:cxn modelId="{6F4CCBE1-12F3-47B9-8D6B-CABFACB6455E}" type="presOf" srcId="{E02461F6-FA28-4E10-9C8D-F0DAFDF2D33F}" destId="{8726CBA2-DA39-446D-A852-0A7FB7328229}" srcOrd="0" destOrd="0" presId="urn:microsoft.com/office/officeart/2005/8/layout/hList6"/>
    <dgm:cxn modelId="{53B3A753-709D-4DE3-82A7-3C360BD0E21C}" type="presParOf" srcId="{628D703F-9DA5-4CE0-92F1-49C047D3616F}" destId="{CFC483C0-29B2-4011-854D-2CA1588EBC41}" srcOrd="0" destOrd="0" presId="urn:microsoft.com/office/officeart/2005/8/layout/hList6"/>
    <dgm:cxn modelId="{DFCE8209-B3AA-4C7E-8087-377DFFFDFC86}" type="presParOf" srcId="{628D703F-9DA5-4CE0-92F1-49C047D3616F}" destId="{D1174038-A578-45C4-B6E0-A340FF4BB349}" srcOrd="1" destOrd="0" presId="urn:microsoft.com/office/officeart/2005/8/layout/hList6"/>
    <dgm:cxn modelId="{0F5D1DD7-383E-4D1E-B36D-AD4233278190}" type="presParOf" srcId="{628D703F-9DA5-4CE0-92F1-49C047D3616F}" destId="{F5B07372-C722-4B56-8991-A0FDA5F0FE94}" srcOrd="2" destOrd="0" presId="urn:microsoft.com/office/officeart/2005/8/layout/hList6"/>
    <dgm:cxn modelId="{16D9FAE4-68E4-44AA-8CC3-15B11BBADF04}" type="presParOf" srcId="{628D703F-9DA5-4CE0-92F1-49C047D3616F}" destId="{8008C777-4581-4291-B430-9ACB72B2B5F4}" srcOrd="3" destOrd="0" presId="urn:microsoft.com/office/officeart/2005/8/layout/hList6"/>
    <dgm:cxn modelId="{4836D795-1EB4-4E7C-B038-CCF97EB4918B}" type="presParOf" srcId="{628D703F-9DA5-4CE0-92F1-49C047D3616F}" destId="{8726CBA2-DA39-446D-A852-0A7FB7328229}" srcOrd="4" destOrd="0" presId="urn:microsoft.com/office/officeart/2005/8/layout/hList6"/>
    <dgm:cxn modelId="{060024AE-25D1-44F1-A52E-6AF90C2FA9C9}" type="presParOf" srcId="{628D703F-9DA5-4CE0-92F1-49C047D3616F}" destId="{6B3788B8-05AD-4E4F-B4F5-E55A36954F87}" srcOrd="5" destOrd="0" presId="urn:microsoft.com/office/officeart/2005/8/layout/hList6"/>
    <dgm:cxn modelId="{3E51F3DA-45C6-47D5-824F-4005DD3F94A3}" type="presParOf" srcId="{628D703F-9DA5-4CE0-92F1-49C047D3616F}" destId="{8970034F-B317-40BC-9933-34877985F591}" srcOrd="6" destOrd="0" presId="urn:microsoft.com/office/officeart/2005/8/layout/hList6"/>
    <dgm:cxn modelId="{7320A850-3E16-4247-8536-B528829B7213}" type="presParOf" srcId="{628D703F-9DA5-4CE0-92F1-49C047D3616F}" destId="{AF01EAB2-4B1F-4143-8ABF-AA5C2C29DCB6}" srcOrd="7" destOrd="0" presId="urn:microsoft.com/office/officeart/2005/8/layout/hList6"/>
    <dgm:cxn modelId="{7C7B0731-38E2-4F7C-9C88-2CEF0584F1BC}" type="presParOf" srcId="{628D703F-9DA5-4CE0-92F1-49C047D3616F}" destId="{BB010AE6-EC75-4939-B5C7-1B8BB4FB9C34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C483C0-29B2-4011-854D-2CA1588EBC41}">
      <dsp:nvSpPr>
        <dsp:cNvPr id="0" name=""/>
        <dsp:cNvSpPr/>
      </dsp:nvSpPr>
      <dsp:spPr>
        <a:xfrm rot="16200000">
          <a:off x="3489996" y="1180187"/>
          <a:ext cx="4537890" cy="2177515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2400" bIns="0" numCol="1" spcCol="1270" anchor="ctr" anchorCtr="0">
          <a:noAutofit/>
        </a:bodyPr>
        <a:lstStyle/>
        <a:p>
          <a:pPr marL="0" lvl="0" indent="0" algn="ctr" defTabSz="10668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0" kern="1200" dirty="0"/>
            <a:t>Data Use for action and Improvement </a:t>
          </a:r>
          <a:r>
            <a:rPr lang="en-GB" sz="2400" b="1" kern="1200" dirty="0"/>
            <a:t>(DUFAI)</a:t>
          </a:r>
        </a:p>
      </dsp:txBody>
      <dsp:txXfrm rot="5400000">
        <a:off x="4670183" y="907578"/>
        <a:ext cx="2177515" cy="2722734"/>
      </dsp:txXfrm>
    </dsp:sp>
    <dsp:sp modelId="{F5B07372-C722-4B56-8991-A0FDA5F0FE94}">
      <dsp:nvSpPr>
        <dsp:cNvPr id="0" name=""/>
        <dsp:cNvSpPr/>
      </dsp:nvSpPr>
      <dsp:spPr>
        <a:xfrm rot="16200000">
          <a:off x="5809050" y="1180187"/>
          <a:ext cx="4537890" cy="2177515"/>
        </a:xfrm>
        <a:prstGeom prst="flowChartManualOperati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6766" bIns="0" numCol="1" spcCol="1270" anchor="ctr" anchorCtr="0">
          <a:noAutofit/>
        </a:bodyPr>
        <a:lstStyle/>
        <a:p>
          <a:pPr marL="0" lvl="0" indent="0" algn="ctr" defTabSz="11112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Risk management</a:t>
          </a:r>
        </a:p>
      </dsp:txBody>
      <dsp:txXfrm rot="5400000">
        <a:off x="6989237" y="907578"/>
        <a:ext cx="2177515" cy="2722734"/>
      </dsp:txXfrm>
    </dsp:sp>
    <dsp:sp modelId="{8726CBA2-DA39-446D-A852-0A7FB7328229}">
      <dsp:nvSpPr>
        <dsp:cNvPr id="0" name=""/>
        <dsp:cNvSpPr/>
      </dsp:nvSpPr>
      <dsp:spPr>
        <a:xfrm rot="16200000">
          <a:off x="-1180187" y="1180187"/>
          <a:ext cx="4537890" cy="2177515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6766" bIns="0" numCol="1" spcCol="1270" anchor="ctr" anchorCtr="0">
          <a:noAutofit/>
        </a:bodyPr>
        <a:lstStyle/>
        <a:p>
          <a:pPr marL="0" lvl="0" indent="0" algn="ctr" defTabSz="11112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GF Strategy and Strategic Priorities</a:t>
          </a:r>
        </a:p>
      </dsp:txBody>
      <dsp:txXfrm rot="5400000">
        <a:off x="0" y="907578"/>
        <a:ext cx="2177515" cy="2722734"/>
      </dsp:txXfrm>
    </dsp:sp>
    <dsp:sp modelId="{8970034F-B317-40BC-9933-34877985F591}">
      <dsp:nvSpPr>
        <dsp:cNvPr id="0" name=""/>
        <dsp:cNvSpPr/>
      </dsp:nvSpPr>
      <dsp:spPr>
        <a:xfrm rot="16200000">
          <a:off x="8195542" y="1180187"/>
          <a:ext cx="4537890" cy="2177515"/>
        </a:xfrm>
        <a:prstGeom prst="flowChartManualOperati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6766" bIns="0" numCol="1" spcCol="1270" anchor="ctr" anchorCtr="0">
          <a:noAutofit/>
        </a:bodyPr>
        <a:lstStyle/>
        <a:p>
          <a:pPr marL="0" lvl="0" indent="0" algn="ctr" defTabSz="11112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Key metrics and sources of funding (OPEX, Grants)</a:t>
          </a:r>
        </a:p>
      </dsp:txBody>
      <dsp:txXfrm rot="5400000">
        <a:off x="9375729" y="907578"/>
        <a:ext cx="2177515" cy="2722734"/>
      </dsp:txXfrm>
    </dsp:sp>
    <dsp:sp modelId="{BB010AE6-EC75-4939-B5C7-1B8BB4FB9C34}">
      <dsp:nvSpPr>
        <dsp:cNvPr id="0" name=""/>
        <dsp:cNvSpPr/>
      </dsp:nvSpPr>
      <dsp:spPr>
        <a:xfrm rot="16200000">
          <a:off x="1162126" y="1180187"/>
          <a:ext cx="4537890" cy="2177515"/>
        </a:xfrm>
        <a:prstGeom prst="flowChartManualOperati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0" tIns="0" rIns="156766" bIns="0" numCol="1" spcCol="1270" anchor="ctr" anchorCtr="0">
          <a:noAutofit/>
        </a:bodyPr>
        <a:lstStyle/>
        <a:p>
          <a:pPr marL="0" lvl="0" indent="0" algn="ctr" defTabSz="111125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KPI framework</a:t>
          </a:r>
          <a:endParaRPr lang="en-GB" sz="2500" b="1" kern="1200" dirty="0"/>
        </a:p>
      </dsp:txBody>
      <dsp:txXfrm rot="5400000">
        <a:off x="2342313" y="907578"/>
        <a:ext cx="2177515" cy="27227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93E676-7166-475C-979D-659388E5C8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3EFB84-809B-4185-A2DC-299A232379E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CE582A-07AB-4729-A059-2270EFAF2F90}" type="datetimeFigureOut">
              <a:rPr lang="en-US" smtClean="0"/>
              <a:t>7/22/2019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E29B2B8-CE00-45FD-A323-C5909C7A457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7747A76-B59D-436E-AEC2-A3C5E7F31F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9BCDE7-89C7-4790-9DA8-B0AB8E7C9B6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78DF62-D42F-41CE-ABFE-78DE208C91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DA00EE-2A66-49B0-978D-29FBD6B0C757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163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58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510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582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69EF08-7001-48C4-8DB7-CEEA72E86902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2909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framework consolidates all reporting requirements, including KPI, Strategic Implementation plan, risk tracer indicators, and key metr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124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548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922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366F2-1B82-8E43-B983-045388936D7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168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324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7900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378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95039"/>
      </p:ext>
    </p:extLst>
  </p:cSld>
  <p:clrMapOvr>
    <a:masterClrMapping/>
  </p:clrMapOvr>
  <p:transition>
    <p:fade/>
  </p:transition>
  <p:hf hdr="0" ftr="0"/>
  <p:extLst mod="1"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 dirty="0"/>
              <a:t>Click to add item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58605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82804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0336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744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600000"/>
            <a:ext cx="1075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8970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2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724438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628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93306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123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0427"/>
            <a:ext cx="10363200" cy="1470025"/>
          </a:xfrm>
        </p:spPr>
        <p:txBody>
          <a:bodyPr/>
          <a:lstStyle>
            <a:lvl1pPr>
              <a:defRPr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AU" dirty="0"/>
              <a:t>CLICK TO ENTER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dirty="0"/>
              <a:t>Click to enter presenter nam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416" y="108843"/>
            <a:ext cx="3967168" cy="19127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951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480" y="274639"/>
            <a:ext cx="10691040" cy="1143000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0480" y="1600202"/>
            <a:ext cx="10691040" cy="4525963"/>
          </a:xfrm>
        </p:spPr>
        <p:txBody>
          <a:bodyPr/>
          <a:lstStyle>
            <a:lvl1pPr>
              <a:defRPr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>
              <a:defRPr>
                <a:solidFill>
                  <a:srgbClr val="383333"/>
                </a:solidFill>
                <a:latin typeface="Franklin Gothic Book" panose="020B0503020102020204" pitchFamily="34" charset="0"/>
              </a:defRPr>
            </a:lvl2pPr>
            <a:lvl3pPr>
              <a:defRPr>
                <a:solidFill>
                  <a:srgbClr val="383333"/>
                </a:solidFill>
                <a:latin typeface="Franklin Gothic Book" panose="020B0503020102020204" pitchFamily="34" charset="0"/>
              </a:defRPr>
            </a:lvl3pPr>
            <a:lvl4pPr>
              <a:defRPr>
                <a:solidFill>
                  <a:srgbClr val="383333"/>
                </a:solidFill>
                <a:latin typeface="Franklin Gothic Book" panose="020B0503020102020204" pitchFamily="34" charset="0"/>
              </a:defRPr>
            </a:lvl4pPr>
            <a:lvl5pPr>
              <a:defRPr>
                <a:solidFill>
                  <a:srgbClr val="383333"/>
                </a:solidFill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735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80158"/>
      </p:ext>
    </p:extLst>
  </p:cSld>
  <p:clrMapOvr>
    <a:masterClrMapping/>
  </p:clrMapOvr>
  <p:transition>
    <p:fade/>
  </p:transition>
  <p:hf hdr="0" ftr="0"/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4406902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5923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3864" y="274639"/>
            <a:ext cx="11064273" cy="1143000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3863" y="1600202"/>
            <a:ext cx="5115611" cy="4525963"/>
          </a:xfrm>
        </p:spPr>
        <p:txBody>
          <a:bodyPr/>
          <a:lstStyle>
            <a:lvl1pPr>
              <a:defRPr sz="2800">
                <a:latin typeface="Franklin Gothic Book" panose="020B0503020102020204" pitchFamily="34" charset="0"/>
              </a:defRPr>
            </a:lvl1pPr>
            <a:lvl2pPr>
              <a:defRPr sz="2400">
                <a:latin typeface="Franklin Gothic Book" panose="020B0503020102020204" pitchFamily="34" charset="0"/>
              </a:defRPr>
            </a:lvl2pPr>
            <a:lvl3pPr>
              <a:defRPr sz="2000">
                <a:latin typeface="Franklin Gothic Book" panose="020B0503020102020204" pitchFamily="34" charset="0"/>
              </a:defRPr>
            </a:lvl3pPr>
            <a:lvl4pPr>
              <a:defRPr sz="1800">
                <a:latin typeface="Franklin Gothic Book" panose="020B0503020102020204" pitchFamily="34" charset="0"/>
              </a:defRPr>
            </a:lvl4pPr>
            <a:lvl5pPr>
              <a:defRPr sz="1800">
                <a:latin typeface="Franklin Gothic Book" panose="020B05030201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3336" y="1600202"/>
            <a:ext cx="5384800" cy="4525963"/>
          </a:xfrm>
        </p:spPr>
        <p:txBody>
          <a:bodyPr/>
          <a:lstStyle>
            <a:lvl1pPr>
              <a:defRPr sz="28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>
              <a:defRPr sz="2400">
                <a:solidFill>
                  <a:srgbClr val="383333"/>
                </a:solidFill>
                <a:latin typeface="Franklin Gothic Book" panose="020B0503020102020204" pitchFamily="34" charset="0"/>
              </a:defRPr>
            </a:lvl2pPr>
            <a:lvl3pPr>
              <a:defRPr sz="2000">
                <a:solidFill>
                  <a:srgbClr val="383333"/>
                </a:solidFill>
                <a:latin typeface="Franklin Gothic Book" panose="020B0503020102020204" pitchFamily="34" charset="0"/>
              </a:defRPr>
            </a:lvl3pPr>
            <a:lvl4pPr>
              <a:defRPr sz="1800">
                <a:solidFill>
                  <a:srgbClr val="383333"/>
                </a:solidFill>
                <a:latin typeface="Franklin Gothic Book" panose="020B0503020102020204" pitchFamily="34" charset="0"/>
              </a:defRPr>
            </a:lvl4pPr>
            <a:lvl5pPr>
              <a:defRPr sz="1800">
                <a:solidFill>
                  <a:srgbClr val="383333"/>
                </a:solidFill>
                <a:latin typeface="Franklin Gothic Book" panose="020B05030201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6933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459" y="274639"/>
            <a:ext cx="10691084" cy="1143000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7655" y="1535114"/>
            <a:ext cx="511772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7655" y="2174875"/>
            <a:ext cx="511772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5251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5251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826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459" y="274639"/>
            <a:ext cx="10691084" cy="1143000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391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7297" y="273050"/>
            <a:ext cx="3729368" cy="1162051"/>
          </a:xfrm>
        </p:spPr>
        <p:txBody>
          <a:bodyPr anchor="b"/>
          <a:lstStyle>
            <a:lvl1pPr algn="l">
              <a:defRPr sz="2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2671" y="273053"/>
            <a:ext cx="6815667" cy="5853113"/>
          </a:xfrm>
        </p:spPr>
        <p:txBody>
          <a:bodyPr/>
          <a:lstStyle>
            <a:lvl1pPr>
              <a:defRPr sz="32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>
              <a:defRPr sz="2800">
                <a:solidFill>
                  <a:srgbClr val="383333"/>
                </a:solidFill>
                <a:latin typeface="Franklin Gothic Book" panose="020B0503020102020204" pitchFamily="34" charset="0"/>
              </a:defRPr>
            </a:lvl2pPr>
            <a:lvl3pPr>
              <a:defRPr sz="2400">
                <a:solidFill>
                  <a:srgbClr val="383333"/>
                </a:solidFill>
                <a:latin typeface="Franklin Gothic Book" panose="020B0503020102020204" pitchFamily="34" charset="0"/>
              </a:defRPr>
            </a:lvl3pPr>
            <a:lvl4pPr>
              <a:defRPr sz="2000">
                <a:solidFill>
                  <a:srgbClr val="383333"/>
                </a:solidFill>
                <a:latin typeface="Franklin Gothic Book" panose="020B0503020102020204" pitchFamily="34" charset="0"/>
              </a:defRPr>
            </a:lvl4pPr>
            <a:lvl5pPr>
              <a:defRPr sz="2000">
                <a:solidFill>
                  <a:srgbClr val="383333"/>
                </a:solidFill>
                <a:latin typeface="Franklin Gothic Book" panose="020B05030201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7297" y="1435103"/>
            <a:ext cx="3729368" cy="4691063"/>
          </a:xfrm>
        </p:spPr>
        <p:txBody>
          <a:bodyPr/>
          <a:lstStyle>
            <a:lvl1pPr marL="0" indent="0">
              <a:buNone/>
              <a:defRPr sz="14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5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38400" y="4800601"/>
            <a:ext cx="7315200" cy="566739"/>
          </a:xfrm>
        </p:spPr>
        <p:txBody>
          <a:bodyPr anchor="b"/>
          <a:lstStyle>
            <a:lvl1pPr algn="l">
              <a:defRPr sz="2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438400" y="612775"/>
            <a:ext cx="7315200" cy="4114800"/>
          </a:xfrm>
        </p:spPr>
        <p:txBody>
          <a:bodyPr/>
          <a:lstStyle>
            <a:lvl1pPr marL="0" indent="0">
              <a:buNone/>
              <a:defRPr sz="3200">
                <a:latin typeface="Franklin Gothic Book" panose="020B05030201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438400" y="5367339"/>
            <a:ext cx="7315200" cy="804863"/>
          </a:xfrm>
        </p:spPr>
        <p:txBody>
          <a:bodyPr/>
          <a:lstStyle>
            <a:lvl1pPr marL="0" indent="0">
              <a:buNone/>
              <a:defRPr sz="1400">
                <a:solidFill>
                  <a:srgbClr val="383333"/>
                </a:solidFill>
                <a:latin typeface="Franklin Gothic Book" panose="020B05030201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8540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0459" y="274639"/>
            <a:ext cx="10691084" cy="1143000"/>
          </a:xfrm>
        </p:spPr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0459" y="1600202"/>
            <a:ext cx="10691084" cy="4525963"/>
          </a:xfrm>
        </p:spPr>
        <p:txBody>
          <a:bodyPr vert="eaVert"/>
          <a:lstStyle>
            <a:lvl1pPr>
              <a:defRPr>
                <a:latin typeface="Raleway" panose="020B0503030101060003" pitchFamily="34" charset="0"/>
              </a:defRPr>
            </a:lvl1pPr>
            <a:lvl2pPr>
              <a:defRPr>
                <a:latin typeface="Raleway" panose="020B0503030101060003" pitchFamily="34" charset="0"/>
              </a:defRPr>
            </a:lvl2pPr>
            <a:lvl3pPr>
              <a:defRPr>
                <a:latin typeface="Raleway" panose="020B0503030101060003" pitchFamily="34" charset="0"/>
              </a:defRPr>
            </a:lvl3pPr>
            <a:lvl4pPr>
              <a:defRPr>
                <a:latin typeface="Raleway" panose="020B0503030101060003" pitchFamily="34" charset="0"/>
              </a:defRPr>
            </a:lvl4pPr>
            <a:lvl5pPr>
              <a:defRPr>
                <a:latin typeface="Raleway" panose="020B05030301010600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737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296" y="6111995"/>
            <a:ext cx="12347682" cy="7460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rgbClr val="E8303B"/>
                </a:solidFill>
                <a:latin typeface="Franklin Gothic Book" panose="020B05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  <a:lvl2pPr>
              <a:defRPr>
                <a:latin typeface="Franklin Gothic Book" panose="020B0503020102020204" pitchFamily="34" charset="0"/>
              </a:defRPr>
            </a:lvl2pPr>
            <a:lvl3pPr>
              <a:defRPr>
                <a:latin typeface="Franklin Gothic Book" panose="020B0503020102020204" pitchFamily="34" charset="0"/>
              </a:defRPr>
            </a:lvl3pPr>
            <a:lvl4pPr>
              <a:defRPr>
                <a:latin typeface="Franklin Gothic Book" panose="020B0503020102020204" pitchFamily="34" charset="0"/>
              </a:defRPr>
            </a:lvl4pPr>
            <a:lvl5pPr>
              <a:defRPr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156" y="6111995"/>
            <a:ext cx="4331688" cy="84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83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880743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63444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“Double tap to add quote text”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349774616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2864487"/>
              </p:ext>
            </p:extLst>
          </p:nvPr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1720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99796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099647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364935692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noProof="0" dirty="0"/>
              <a:t>Sixth</a:t>
            </a:r>
          </a:p>
          <a:p>
            <a:pPr lvl="6"/>
            <a:r>
              <a:rPr lang="en-US" noProof="0" dirty="0"/>
              <a:t>Seventh</a:t>
            </a:r>
          </a:p>
          <a:p>
            <a:pPr lvl="7"/>
            <a:r>
              <a:rPr lang="en-US" noProof="0" dirty="0"/>
              <a:t>Eighth</a:t>
            </a:r>
          </a:p>
          <a:p>
            <a:pPr lvl="8"/>
            <a:r>
              <a:rPr lang="en-US" noProof="0" dirty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3" r:id="rId2"/>
    <p:sldLayoutId id="2147483681" r:id="rId3"/>
    <p:sldLayoutId id="2147483682" r:id="rId4"/>
    <p:sldLayoutId id="2147483690" r:id="rId5"/>
    <p:sldLayoutId id="2147483689" r:id="rId6"/>
    <p:sldLayoutId id="2147483693" r:id="rId7"/>
    <p:sldLayoutId id="2147483687" r:id="rId8"/>
    <p:sldLayoutId id="2147483692" r:id="rId9"/>
    <p:sldLayoutId id="2147483685" r:id="rId10"/>
    <p:sldLayoutId id="2147483691" r:id="rId11"/>
    <p:sldLayoutId id="2147483655" r:id="rId12"/>
    <p:sldLayoutId id="2147483694" r:id="rId13"/>
    <p:sldLayoutId id="2147483704" r:id="rId14"/>
    <p:sldLayoutId id="2147483705" r:id="rId15"/>
    <p:sldLayoutId id="2147483706" r:id="rId16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2206DA-4705-844F-8F0B-F43945BCDB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048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000" b="1" kern="1200">
          <a:solidFill>
            <a:srgbClr val="E8303B"/>
          </a:solidFill>
          <a:latin typeface="Franklin Gothic Book" panose="020B050302010202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383333"/>
          </a:solidFill>
          <a:latin typeface="Franklin Gothic Book" panose="020B0503020102020204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383333"/>
          </a:solidFill>
          <a:latin typeface="Franklin Gothic Book" panose="020B0503020102020204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383333"/>
          </a:solidFill>
          <a:latin typeface="Franklin Gothic Book" panose="020B0503020102020204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383333"/>
          </a:solidFill>
          <a:latin typeface="Franklin Gothic Book" panose="020B0503020102020204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383333"/>
          </a:solidFill>
          <a:latin typeface="Franklin Gothic Book" panose="020B0503020102020204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E8343F"/>
                </a:solidFill>
              </a:rPr>
              <a:t>How are </a:t>
            </a:r>
            <a:r>
              <a:rPr lang="en-US" dirty="0" err="1">
                <a:solidFill>
                  <a:srgbClr val="E8343F"/>
                </a:solidFill>
              </a:rPr>
              <a:t>programmes</a:t>
            </a:r>
            <a:r>
              <a:rPr lang="en-US" dirty="0">
                <a:solidFill>
                  <a:srgbClr val="E8343F"/>
                </a:solidFill>
              </a:rPr>
              <a:t> specifically </a:t>
            </a:r>
            <a:br>
              <a:rPr lang="en-US" dirty="0">
                <a:solidFill>
                  <a:srgbClr val="E8343F"/>
                </a:solidFill>
              </a:rPr>
            </a:br>
            <a:r>
              <a:rPr lang="en-US" dirty="0">
                <a:solidFill>
                  <a:srgbClr val="E8343F"/>
                </a:solidFill>
              </a:rPr>
              <a:t>designed using collected data?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9516" y="4257092"/>
            <a:ext cx="8534400" cy="159142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Osamu Kunii, </a:t>
            </a:r>
            <a:r>
              <a:rPr lang="en-US" sz="2000" dirty="0">
                <a:solidFill>
                  <a:srgbClr val="FF0000"/>
                </a:solidFill>
              </a:rPr>
              <a:t>MD, MPH, PhD</a:t>
            </a:r>
            <a:endParaRPr lang="en-US" dirty="0">
              <a:solidFill>
                <a:srgbClr val="FF0000"/>
              </a:solidFill>
            </a:endParaRPr>
          </a:p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Head, Strategy, Investment and Impact Division</a:t>
            </a:r>
          </a:p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The Global Fund to fight AIDS, Tuberculosis and Malaria</a:t>
            </a:r>
          </a:p>
        </p:txBody>
      </p:sp>
    </p:spTree>
    <p:extLst>
      <p:ext uri="{BB962C8B-B14F-4D97-AF65-F5344CB8AC3E}">
        <p14:creationId xmlns:p14="http://schemas.microsoft.com/office/powerpoint/2010/main" val="31093609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E2321-ADFB-4896-8F2C-C837F2A44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b="1" dirty="0">
                <a:solidFill>
                  <a:srgbClr val="E8343F"/>
                </a:solidFill>
              </a:rPr>
              <a:t>Lesotho : Use data to drive policy chan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81E1EE-1AF3-4F26-8F90-10075F50A0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FC183C-4F6C-498D-A729-EEEC75A289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74" y="948386"/>
            <a:ext cx="6601371" cy="52628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57ECF3D-036F-410A-8525-0EE6D983147D}"/>
              </a:ext>
            </a:extLst>
          </p:cNvPr>
          <p:cNvSpPr txBox="1"/>
          <p:nvPr/>
        </p:nvSpPr>
        <p:spPr>
          <a:xfrm>
            <a:off x="7428148" y="948386"/>
            <a:ext cx="4062977" cy="18466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400" dirty="0"/>
              <a:t>   - High volume of tests</a:t>
            </a:r>
          </a:p>
          <a:p>
            <a:r>
              <a:rPr lang="en-US" sz="2400" dirty="0"/>
              <a:t>   - High rate of repeated tests</a:t>
            </a:r>
          </a:p>
          <a:p>
            <a:r>
              <a:rPr lang="en-US" sz="2400" dirty="0"/>
              <a:t>   - Declining yield</a:t>
            </a:r>
          </a:p>
          <a:p>
            <a:r>
              <a:rPr lang="en-US" sz="2400" dirty="0"/>
              <a:t>   - Increasing cost of   </a:t>
            </a:r>
          </a:p>
          <a:p>
            <a:r>
              <a:rPr lang="en-US" sz="2400" dirty="0"/>
              <a:t>        implement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6FAB1A4-BD2E-4DD8-AA8A-F1B6DE5331B0}"/>
              </a:ext>
            </a:extLst>
          </p:cNvPr>
          <p:cNvSpPr txBox="1"/>
          <p:nvPr/>
        </p:nvSpPr>
        <p:spPr>
          <a:xfrm>
            <a:off x="7428148" y="3241864"/>
            <a:ext cx="4242884" cy="295465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>
                <a:solidFill>
                  <a:srgbClr val="E8343F"/>
                </a:solidFill>
              </a:rPr>
              <a:t>  -Targeted groups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- Differentiated service 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     delivery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- Focused on high yield 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      modalities with yield 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      targets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- Regular data analysis and </a:t>
            </a:r>
          </a:p>
          <a:p>
            <a:pPr algn="l"/>
            <a:r>
              <a:rPr lang="en-US" sz="2400" dirty="0">
                <a:solidFill>
                  <a:srgbClr val="E8343F"/>
                </a:solidFill>
              </a:rPr>
              <a:t>         adjustment</a:t>
            </a:r>
          </a:p>
        </p:txBody>
      </p:sp>
      <p:sp>
        <p:nvSpPr>
          <p:cNvPr id="4" name="Arrow: Down 3">
            <a:extLst>
              <a:ext uri="{FF2B5EF4-FFF2-40B4-BE49-F238E27FC236}">
                <a16:creationId xmlns:a16="http://schemas.microsoft.com/office/drawing/2014/main" id="{87854A86-6429-4537-B574-0357CCF8374B}"/>
              </a:ext>
            </a:extLst>
          </p:cNvPr>
          <p:cNvSpPr/>
          <p:nvPr/>
        </p:nvSpPr>
        <p:spPr>
          <a:xfrm>
            <a:off x="9192344" y="2805122"/>
            <a:ext cx="684076" cy="407854"/>
          </a:xfrm>
          <a:prstGeom prst="down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58686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8FF7-CC56-4699-AF4B-8525FE95D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81576"/>
            <a:ext cx="11449049" cy="1143000"/>
          </a:xfrm>
        </p:spPr>
        <p:txBody>
          <a:bodyPr/>
          <a:lstStyle/>
          <a:p>
            <a:pPr algn="ctr"/>
            <a:r>
              <a:rPr lang="en-US" sz="3600" b="1" dirty="0">
                <a:solidFill>
                  <a:srgbClr val="E8343F"/>
                </a:solidFill>
              </a:rPr>
              <a:t>Community-based monito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2F282-781C-4150-9B5D-786F30324A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372" y="1083951"/>
            <a:ext cx="11449050" cy="5112568"/>
          </a:xfrm>
        </p:spPr>
        <p:txBody>
          <a:bodyPr/>
          <a:lstStyle/>
          <a:p>
            <a:pPr marL="0" lvl="2" indent="-192533">
              <a:spcAft>
                <a:spcPts val="1200"/>
              </a:spcAft>
              <a:buNone/>
            </a:pPr>
            <a:r>
              <a:rPr lang="en-GB" sz="2800" b="1" dirty="0"/>
              <a:t>Advantage</a:t>
            </a:r>
            <a:r>
              <a:rPr lang="en-GB" sz="2800" dirty="0"/>
              <a:t>: bottom-up, demand side, c</a:t>
            </a:r>
            <a:r>
              <a:rPr lang="en-US" sz="2800" dirty="0" err="1"/>
              <a:t>ommunity</a:t>
            </a:r>
            <a:r>
              <a:rPr lang="en-US" sz="2800" dirty="0"/>
              <a:t> engagement </a:t>
            </a:r>
            <a:r>
              <a:rPr lang="en-GB" sz="2800" dirty="0"/>
              <a:t>&amp; buy-in,                                                                                        	           shorter, local feedback loops</a:t>
            </a:r>
            <a:endParaRPr lang="en-US" sz="2800" dirty="0">
              <a:sym typeface="Wingdings" panose="05000000000000000000" pitchFamily="2" charset="2"/>
            </a:endParaRPr>
          </a:p>
          <a:p>
            <a:pPr marL="0" lvl="2" indent="-192533">
              <a:spcAft>
                <a:spcPts val="1200"/>
              </a:spcAft>
              <a:buNone/>
            </a:pPr>
            <a:r>
              <a:rPr lang="en-US" sz="2800" b="1" u="sng" dirty="0">
                <a:solidFill>
                  <a:schemeClr val="tx1"/>
                </a:solidFill>
                <a:sym typeface="Wingdings" panose="05000000000000000000" pitchFamily="2" charset="2"/>
              </a:rPr>
              <a:t>Example</a:t>
            </a:r>
            <a:r>
              <a:rPr lang="en-US" sz="2800" dirty="0">
                <a:solidFill>
                  <a:schemeClr val="tx1"/>
                </a:solidFill>
                <a:sym typeface="Wingdings" panose="05000000000000000000" pitchFamily="2" charset="2"/>
              </a:rPr>
              <a:t>: </a:t>
            </a:r>
            <a:r>
              <a:rPr lang="en-US" sz="2800" b="1" dirty="0">
                <a:sym typeface="Wingdings" panose="05000000000000000000" pitchFamily="2" charset="2"/>
              </a:rPr>
              <a:t>Community Tx Observatory in 11 countries, </a:t>
            </a:r>
            <a:r>
              <a:rPr lang="en-US" sz="2800" b="1" dirty="0"/>
              <a:t>West Africa</a:t>
            </a:r>
            <a:endParaRPr lang="en-US" sz="2800" b="1" dirty="0">
              <a:sym typeface="Wingdings" panose="05000000000000000000" pitchFamily="2" charset="2"/>
            </a:endParaRPr>
          </a:p>
          <a:p>
            <a:pPr marL="0" lvl="2" indent="-192533">
              <a:spcAft>
                <a:spcPts val="1200"/>
              </a:spcAft>
              <a:buNone/>
            </a:pPr>
            <a:r>
              <a:rPr lang="en-US" sz="2800" dirty="0">
                <a:sym typeface="Wingdings" panose="05000000000000000000" pitchFamily="2" charset="2"/>
              </a:rPr>
              <a:t>                </a:t>
            </a:r>
            <a:r>
              <a:rPr lang="en-US" sz="2800" dirty="0"/>
              <a:t>€3.6 million to International Treatment Preparedness Coalition</a:t>
            </a:r>
            <a:endParaRPr lang="en-US" sz="2800" dirty="0">
              <a:solidFill>
                <a:schemeClr val="tx1"/>
              </a:solidFill>
            </a:endParaRP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Findings: </a:t>
            </a:r>
            <a:r>
              <a:rPr lang="en-US" sz="2800" dirty="0">
                <a:solidFill>
                  <a:schemeClr val="tx1"/>
                </a:solidFill>
              </a:rPr>
              <a:t>stock-out, reasons for not accessing ART, quality of care, out-of-pocket payment</a:t>
            </a:r>
          </a:p>
          <a:p>
            <a:pPr marL="45720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Actions: </a:t>
            </a:r>
            <a:r>
              <a:rPr lang="en-US" sz="2800" dirty="0">
                <a:solidFill>
                  <a:schemeClr val="tx1"/>
                </a:solidFill>
              </a:rPr>
              <a:t>advocacy and improvement for differentiated service delivery, non-facility based HIV testing, communication to prevent stock-outs, funding to viral load testing machines/lab suppl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69382-0EED-4D05-A7CE-F7A756B39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11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7408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8FF7-CC56-4699-AF4B-8525FE95D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81576"/>
            <a:ext cx="11449049" cy="1143000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rgbClr val="E8343F"/>
                </a:solidFill>
              </a:rPr>
              <a:t>Way forwa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2F282-781C-4150-9B5D-786F30324A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682" y="1304764"/>
            <a:ext cx="11285841" cy="4548952"/>
          </a:xfrm>
        </p:spPr>
        <p:txBody>
          <a:bodyPr/>
          <a:lstStyle/>
          <a:p>
            <a:pPr marL="571500" lvl="0" indent="-5715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chemeClr val="tx1"/>
                </a:solidFill>
              </a:rPr>
              <a:t>Smarter investment </a:t>
            </a:r>
            <a:r>
              <a:rPr lang="en-US" sz="3200" dirty="0">
                <a:solidFill>
                  <a:schemeClr val="tx1"/>
                </a:solidFill>
              </a:rPr>
              <a:t>in in-country data systems</a:t>
            </a:r>
          </a:p>
          <a:p>
            <a:pPr marL="571500" lvl="0" indent="-5715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chemeClr val="tx1"/>
                </a:solidFill>
              </a:rPr>
              <a:t>GF</a:t>
            </a:r>
            <a:r>
              <a:rPr lang="en-US" sz="3200" dirty="0">
                <a:solidFill>
                  <a:schemeClr val="tx1"/>
                </a:solidFill>
              </a:rPr>
              <a:t> </a:t>
            </a:r>
            <a:r>
              <a:rPr lang="en-US" sz="3200" b="1" dirty="0">
                <a:solidFill>
                  <a:schemeClr val="tx1"/>
                </a:solidFill>
              </a:rPr>
              <a:t>replenishment</a:t>
            </a:r>
            <a:r>
              <a:rPr lang="en-US" sz="3200" dirty="0">
                <a:solidFill>
                  <a:schemeClr val="tx1"/>
                </a:solidFill>
              </a:rPr>
              <a:t> and </a:t>
            </a:r>
            <a:r>
              <a:rPr lang="en-US" sz="3200" b="1" dirty="0">
                <a:solidFill>
                  <a:schemeClr val="tx1"/>
                </a:solidFill>
              </a:rPr>
              <a:t>domestic resource </a:t>
            </a:r>
            <a:r>
              <a:rPr lang="en-US" sz="3200" dirty="0">
                <a:solidFill>
                  <a:schemeClr val="tx1"/>
                </a:solidFill>
              </a:rPr>
              <a:t>mobilization  </a:t>
            </a:r>
          </a:p>
          <a:p>
            <a:pPr marL="571500" lvl="0" indent="-5715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chemeClr val="tx1"/>
                </a:solidFill>
              </a:rPr>
              <a:t>Strategic partnership </a:t>
            </a:r>
            <a:r>
              <a:rPr lang="en-US" sz="3200" dirty="0">
                <a:solidFill>
                  <a:schemeClr val="tx1"/>
                </a:solidFill>
              </a:rPr>
              <a:t>for acceleration toward SDG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69382-0EED-4D05-A7CE-F7A756B39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12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8641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98FF7-CC56-4699-AF4B-8525FE95D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583" y="512676"/>
            <a:ext cx="11449049" cy="1056276"/>
          </a:xfrm>
        </p:spPr>
        <p:txBody>
          <a:bodyPr/>
          <a:lstStyle/>
          <a:p>
            <a:pPr algn="ctr"/>
            <a:r>
              <a:rPr lang="en-US" sz="3200" b="1" dirty="0">
                <a:solidFill>
                  <a:srgbClr val="E8343F"/>
                </a:solidFill>
              </a:rPr>
              <a:t>Acknowledg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22F282-781C-4150-9B5D-786F30324A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6" y="1664804"/>
            <a:ext cx="8676964" cy="4572508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en-US" sz="2800" dirty="0">
                <a:solidFill>
                  <a:schemeClr val="tx1"/>
                </a:solidFill>
              </a:rPr>
              <a:t>HIV Team</a:t>
            </a:r>
          </a:p>
          <a:p>
            <a:pPr lvl="0">
              <a:lnSpc>
                <a:spcPct val="150000"/>
              </a:lnSpc>
            </a:pPr>
            <a:r>
              <a:rPr lang="en-US" sz="2800" dirty="0">
                <a:solidFill>
                  <a:schemeClr val="tx1"/>
                </a:solidFill>
              </a:rPr>
              <a:t>Monitoring, Evaluation and Country Analysis Team</a:t>
            </a:r>
          </a:p>
          <a:p>
            <a:pPr lvl="0">
              <a:lnSpc>
                <a:spcPct val="150000"/>
              </a:lnSpc>
            </a:pPr>
            <a:r>
              <a:rPr lang="en-US" sz="2800" dirty="0">
                <a:solidFill>
                  <a:schemeClr val="tx1"/>
                </a:solidFill>
              </a:rPr>
              <a:t>Lesotho Country Team</a:t>
            </a:r>
          </a:p>
          <a:p>
            <a:pPr lvl="0">
              <a:lnSpc>
                <a:spcPct val="150000"/>
              </a:lnSpc>
            </a:pPr>
            <a:r>
              <a:rPr lang="en-US" sz="2800" dirty="0">
                <a:solidFill>
                  <a:schemeClr val="tx1"/>
                </a:solidFill>
              </a:rPr>
              <a:t>Jinkou Zhao, Lee Abdelfadil, Michelle Monroe</a:t>
            </a:r>
          </a:p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tx1"/>
                </a:solidFill>
              </a:rPr>
              <a:t>Gavin Reid,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F69382-0EED-4D05-A7CE-F7A756B39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13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315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FE118-09EE-441A-8BBF-DD9BB16C7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9" y="555812"/>
            <a:ext cx="10909214" cy="599888"/>
          </a:xfrm>
        </p:spPr>
        <p:txBody>
          <a:bodyPr/>
          <a:lstStyle/>
          <a:p>
            <a:pPr algn="ctr"/>
            <a:r>
              <a:rPr lang="en-US" sz="3600" b="1" dirty="0"/>
              <a:t>Out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082F5C-842C-41AA-8992-697C133D40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E45F85-AEDF-48B9-86AC-C7063FC475B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5398" y="951863"/>
            <a:ext cx="11125125" cy="52022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/>
              <a:t>Data Use for Action and Improvement Framework (DUFAI)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/>
              <a:t>Data Use for fund allocation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/>
              <a:t>Data Use for across the grant lifecycle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/>
              <a:t>Data and Analytics (</a:t>
            </a:r>
            <a:r>
              <a:rPr lang="en-US" sz="2800" dirty="0" err="1"/>
              <a:t>DnA</a:t>
            </a:r>
            <a:r>
              <a:rPr lang="en-US" sz="2800" dirty="0"/>
              <a:t>) for grant management 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800" dirty="0"/>
              <a:t>Data Use for policy change and implementation adjustment</a:t>
            </a:r>
          </a:p>
          <a:p>
            <a:pPr>
              <a:lnSpc>
                <a:spcPct val="150000"/>
              </a:lnSpc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184577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25387" y="220964"/>
            <a:ext cx="11866613" cy="5797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solidFill>
                  <a:srgbClr val="E8343F"/>
                </a:solidFill>
              </a:rPr>
              <a:t>Data Use for Action and Improvement (DUFAI) Framework</a:t>
            </a:r>
            <a:endParaRPr lang="en-GB" b="1" dirty="0">
              <a:solidFill>
                <a:srgbClr val="E8343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70533" y="811082"/>
            <a:ext cx="8650933" cy="1078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800" dirty="0"/>
              <a:t>To strengthen data </a:t>
            </a:r>
            <a:r>
              <a:rPr lang="en-US" sz="2800" b="1" dirty="0"/>
              <a:t>availability</a:t>
            </a:r>
            <a:r>
              <a:rPr lang="en-US" sz="2800" dirty="0"/>
              <a:t>, </a:t>
            </a:r>
            <a:r>
              <a:rPr lang="en-US" sz="2800" b="1" dirty="0"/>
              <a:t>quality</a:t>
            </a:r>
            <a:r>
              <a:rPr lang="en-US" sz="2800" dirty="0"/>
              <a:t> and </a:t>
            </a:r>
            <a:r>
              <a:rPr lang="en-US" sz="2800" b="1" dirty="0"/>
              <a:t>use</a:t>
            </a:r>
            <a:r>
              <a:rPr lang="en-US" sz="2800" dirty="0"/>
              <a:t> of data for program improvement and maximized impac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13885"/>
          <a:stretch/>
        </p:blipFill>
        <p:spPr>
          <a:xfrm>
            <a:off x="325387" y="1793454"/>
            <a:ext cx="10604407" cy="455187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AFD5C62-E110-4F4D-A0CC-491BE8F3924B}"/>
              </a:ext>
            </a:extLst>
          </p:cNvPr>
          <p:cNvSpPr/>
          <p:nvPr/>
        </p:nvSpPr>
        <p:spPr>
          <a:xfrm>
            <a:off x="7942531" y="1988840"/>
            <a:ext cx="342433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0000"/>
                </a:solidFill>
              </a:rPr>
              <a:t>20 indicators/targets</a:t>
            </a:r>
          </a:p>
        </p:txBody>
      </p:sp>
    </p:spTree>
    <p:extLst>
      <p:ext uri="{BB962C8B-B14F-4D97-AF65-F5344CB8AC3E}">
        <p14:creationId xmlns:p14="http://schemas.microsoft.com/office/powerpoint/2010/main" val="1252733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26331" y="317046"/>
            <a:ext cx="11998361" cy="65566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Arial"/>
                <a:ea typeface="+mj-ea"/>
                <a:cs typeface="+mj-cs"/>
              </a:defRPr>
            </a:lvl1pPr>
          </a:lstStyle>
          <a:p>
            <a:pPr marL="0" lvl="1"/>
            <a:r>
              <a:rPr lang="en-US" sz="3600" b="1" dirty="0">
                <a:solidFill>
                  <a:srgbClr val="E8343F"/>
                </a:solidFill>
              </a:rPr>
              <a:t>DUFAI: Integration and </a:t>
            </a:r>
            <a:r>
              <a:rPr lang="en-GB" sz="3600" b="1" dirty="0">
                <a:solidFill>
                  <a:srgbClr val="E8343F"/>
                </a:solidFill>
              </a:rPr>
              <a:t>Alignment across the metrics </a:t>
            </a:r>
          </a:p>
          <a:p>
            <a:pPr lvl="1"/>
            <a:endParaRPr lang="en-GB" sz="3200" dirty="0">
              <a:solidFill>
                <a:srgbClr val="E8343F"/>
              </a:solidFill>
            </a:endParaRPr>
          </a:p>
          <a:p>
            <a:pPr lvl="1"/>
            <a:endParaRPr lang="en-GB" sz="3200" dirty="0">
              <a:solidFill>
                <a:srgbClr val="E8343F"/>
              </a:solidFill>
            </a:endParaRPr>
          </a:p>
          <a:p>
            <a:pPr lvl="1"/>
            <a:endParaRPr lang="en-GB" sz="3200" dirty="0">
              <a:solidFill>
                <a:srgbClr val="E8343F"/>
              </a:solidFill>
            </a:endParaRPr>
          </a:p>
          <a:p>
            <a:pPr lvl="1"/>
            <a:endParaRPr lang="en-GB" sz="3200" dirty="0">
              <a:solidFill>
                <a:srgbClr val="E8343F"/>
              </a:solidFill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6FB773-A533-4F19-B42E-567600D182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0972236"/>
              </p:ext>
            </p:extLst>
          </p:nvPr>
        </p:nvGraphicFramePr>
        <p:xfrm>
          <a:off x="326331" y="1384298"/>
          <a:ext cx="11553245" cy="4537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29166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B6C055-14D4-4C76-86EA-2BD6DB1F65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B6C055-14D4-4C76-86EA-2BD6DB1F6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350928-F4A7-4B98-96D3-336AA68428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65875E4-8D36-4E7A-9889-CD7A24E7402F}"/>
              </a:ext>
            </a:extLst>
          </p:cNvPr>
          <p:cNvCxnSpPr>
            <a:cxnSpLocks/>
          </p:cNvCxnSpPr>
          <p:nvPr/>
        </p:nvCxnSpPr>
        <p:spPr>
          <a:xfrm flipV="1">
            <a:off x="3212183" y="2752138"/>
            <a:ext cx="8435543" cy="169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8174A8EE-C68E-4FF1-96B0-26DD856A6312}"/>
              </a:ext>
            </a:extLst>
          </p:cNvPr>
          <p:cNvSpPr/>
          <p:nvPr/>
        </p:nvSpPr>
        <p:spPr>
          <a:xfrm>
            <a:off x="9478276" y="2605348"/>
            <a:ext cx="2565765" cy="2321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A6561FB0-CEAA-432B-9E62-89978B5F9A0D}"/>
              </a:ext>
            </a:extLst>
          </p:cNvPr>
          <p:cNvCxnSpPr>
            <a:cxnSpLocks/>
          </p:cNvCxnSpPr>
          <p:nvPr/>
        </p:nvCxnSpPr>
        <p:spPr>
          <a:xfrm>
            <a:off x="9466189" y="2339439"/>
            <a:ext cx="0" cy="403555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2661D50-F8BF-499B-8066-4E986BEFEA09}"/>
              </a:ext>
            </a:extLst>
          </p:cNvPr>
          <p:cNvCxnSpPr>
            <a:cxnSpLocks/>
          </p:cNvCxnSpPr>
          <p:nvPr/>
        </p:nvCxnSpPr>
        <p:spPr>
          <a:xfrm>
            <a:off x="9466190" y="2302297"/>
            <a:ext cx="2510247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B804C84-6944-4014-941E-72B845F83008}"/>
              </a:ext>
            </a:extLst>
          </p:cNvPr>
          <p:cNvGrpSpPr/>
          <p:nvPr/>
        </p:nvGrpSpPr>
        <p:grpSpPr>
          <a:xfrm>
            <a:off x="3484090" y="870057"/>
            <a:ext cx="8453072" cy="1083244"/>
            <a:chOff x="3204559" y="635617"/>
            <a:chExt cx="5784784" cy="662821"/>
          </a:xfrm>
        </p:grpSpPr>
        <p:sp>
          <p:nvSpPr>
            <p:cNvPr id="38" name="Arrow: Right 37">
              <a:extLst>
                <a:ext uri="{FF2B5EF4-FFF2-40B4-BE49-F238E27FC236}">
                  <a16:creationId xmlns:a16="http://schemas.microsoft.com/office/drawing/2014/main" id="{4DC169A4-D1FA-49A4-9587-381BED81FEF7}"/>
                </a:ext>
              </a:extLst>
            </p:cNvPr>
            <p:cNvSpPr/>
            <p:nvPr/>
          </p:nvSpPr>
          <p:spPr>
            <a:xfrm>
              <a:off x="7337504" y="878643"/>
              <a:ext cx="1635511" cy="419795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 w="28575">
              <a:solidFill>
                <a:srgbClr val="D29602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243840" rIns="0" rtlCol="0" anchor="ctr"/>
            <a:lstStyle/>
            <a:p>
              <a:pPr algn="ctr"/>
              <a:r>
                <a:rPr lang="en-US" b="1" dirty="0">
                  <a:solidFill>
                    <a:srgbClr val="D29602"/>
                  </a:solidFill>
                </a:rPr>
                <a:t>   Impact /  </a:t>
              </a:r>
            </a:p>
            <a:p>
              <a:pPr algn="ctr"/>
              <a:r>
                <a:rPr lang="en-US" b="1" dirty="0">
                  <a:solidFill>
                    <a:srgbClr val="D29602"/>
                  </a:solidFill>
                </a:rPr>
                <a:t>  Results</a:t>
              </a: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DE81B7D8-699B-4659-B3FF-4148B81DEC02}"/>
                </a:ext>
              </a:extLst>
            </p:cNvPr>
            <p:cNvSpPr/>
            <p:nvPr/>
          </p:nvSpPr>
          <p:spPr>
            <a:xfrm>
              <a:off x="5855052" y="878643"/>
              <a:ext cx="1717865" cy="416536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 w="28575">
              <a:solidFill>
                <a:srgbClr val="774F7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243840" rIns="0" rtlCol="0" anchor="ctr"/>
            <a:lstStyle/>
            <a:p>
              <a:pPr algn="ctr"/>
              <a:r>
                <a:rPr lang="en-US" b="1" dirty="0">
                  <a:solidFill>
                    <a:srgbClr val="774F75"/>
                  </a:solidFill>
                </a:rPr>
                <a:t>   Implementation</a:t>
              </a:r>
            </a:p>
          </p:txBody>
        </p:sp>
        <p:sp>
          <p:nvSpPr>
            <p:cNvPr id="36" name="Arrow: Right 35">
              <a:extLst>
                <a:ext uri="{FF2B5EF4-FFF2-40B4-BE49-F238E27FC236}">
                  <a16:creationId xmlns:a16="http://schemas.microsoft.com/office/drawing/2014/main" id="{BDA097C1-7F76-4E53-9D06-E8251649B057}"/>
                </a:ext>
              </a:extLst>
            </p:cNvPr>
            <p:cNvSpPr/>
            <p:nvPr/>
          </p:nvSpPr>
          <p:spPr>
            <a:xfrm>
              <a:off x="4537308" y="878643"/>
              <a:ext cx="1572793" cy="419795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 w="28575">
              <a:solidFill>
                <a:srgbClr val="C0550E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243840" rIns="0" rtlCol="0" anchor="ctr"/>
            <a:lstStyle/>
            <a:p>
              <a:pPr algn="ctr"/>
              <a:r>
                <a:rPr lang="en-US" b="1" dirty="0">
                  <a:solidFill>
                    <a:srgbClr val="C0550E"/>
                  </a:solidFill>
                </a:rPr>
                <a:t>  Program Design</a:t>
              </a:r>
            </a:p>
          </p:txBody>
        </p:sp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8939B78A-9619-40B9-9ABB-6C86F1DE7B93}"/>
                </a:ext>
              </a:extLst>
            </p:cNvPr>
            <p:cNvSpPr/>
            <p:nvPr/>
          </p:nvSpPr>
          <p:spPr>
            <a:xfrm>
              <a:off x="3204559" y="878643"/>
              <a:ext cx="1568162" cy="419795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 w="28575">
              <a:solidFill>
                <a:srgbClr val="61A135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243840" rIns="0" rtlCol="0" anchor="ctr"/>
            <a:lstStyle/>
            <a:p>
              <a:pPr algn="ctr"/>
              <a:r>
                <a:rPr lang="en-US" b="1" dirty="0">
                  <a:solidFill>
                    <a:srgbClr val="61A135"/>
                  </a:solidFill>
                </a:rPr>
                <a:t>Funding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FCF7D8A-E3D5-47B7-B299-607590F9F991}"/>
                </a:ext>
              </a:extLst>
            </p:cNvPr>
            <p:cNvSpPr/>
            <p:nvPr/>
          </p:nvSpPr>
          <p:spPr>
            <a:xfrm>
              <a:off x="3220887" y="635617"/>
              <a:ext cx="5768456" cy="30008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endParaRPr lang="en-US" sz="2000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40C58E9-97CE-4A30-9643-37D83E4AAF68}"/>
              </a:ext>
            </a:extLst>
          </p:cNvPr>
          <p:cNvGrpSpPr/>
          <p:nvPr/>
        </p:nvGrpSpPr>
        <p:grpSpPr>
          <a:xfrm>
            <a:off x="124783" y="1175917"/>
            <a:ext cx="581037" cy="5441457"/>
            <a:chOff x="205328" y="1298437"/>
            <a:chExt cx="435778" cy="3343345"/>
          </a:xfrm>
        </p:grpSpPr>
        <p:sp>
          <p:nvSpPr>
            <p:cNvPr id="20" name="Arrow: Left-Right 19">
              <a:extLst>
                <a:ext uri="{FF2B5EF4-FFF2-40B4-BE49-F238E27FC236}">
                  <a16:creationId xmlns:a16="http://schemas.microsoft.com/office/drawing/2014/main" id="{C4363668-0A5B-4A01-AC9C-271FCA484BD1}"/>
                </a:ext>
              </a:extLst>
            </p:cNvPr>
            <p:cNvSpPr/>
            <p:nvPr/>
          </p:nvSpPr>
          <p:spPr>
            <a:xfrm rot="16200000">
              <a:off x="-1156598" y="2844079"/>
              <a:ext cx="3343345" cy="252062"/>
            </a:xfrm>
            <a:prstGeom prst="left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79000">
                  <a:srgbClr val="B9CDE5"/>
                </a:gs>
                <a:gs pos="35000">
                  <a:srgbClr val="376092"/>
                </a:gs>
                <a:gs pos="17000">
                  <a:srgbClr val="254061"/>
                </a:gs>
                <a:gs pos="100000">
                  <a:srgbClr val="DCE6F2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C4FFBE1-4639-4E0F-ADBE-F10C4238F7DD}"/>
                </a:ext>
              </a:extLst>
            </p:cNvPr>
            <p:cNvSpPr/>
            <p:nvPr/>
          </p:nvSpPr>
          <p:spPr>
            <a:xfrm rot="16200000">
              <a:off x="-520900" y="2881748"/>
              <a:ext cx="1629180" cy="17672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67" b="1" dirty="0">
                  <a:solidFill>
                    <a:srgbClr val="7C7C7C"/>
                  </a:solidFill>
                </a:rPr>
                <a:t>GF </a:t>
              </a:r>
              <a:r>
                <a:rPr lang="en-US" b="1" dirty="0">
                  <a:solidFill>
                    <a:srgbClr val="7C7C7C"/>
                  </a:solidFill>
                </a:rPr>
                <a:t>accountability</a:t>
              </a:r>
              <a:endParaRPr lang="en-US" sz="1467" b="1" dirty="0">
                <a:solidFill>
                  <a:srgbClr val="7C7C7C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3E55F04E-384E-4D13-B646-5CE94D57BC99}"/>
                </a:ext>
              </a:extLst>
            </p:cNvPr>
            <p:cNvSpPr/>
            <p:nvPr/>
          </p:nvSpPr>
          <p:spPr>
            <a:xfrm rot="16200000">
              <a:off x="232361" y="1590807"/>
              <a:ext cx="560519" cy="1767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67" b="1">
                  <a:solidFill>
                    <a:schemeClr val="tx1"/>
                  </a:solidFill>
                </a:rPr>
                <a:t>Lower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06B1A493-548C-429F-B9B8-2CD0D566FDC4}"/>
                </a:ext>
              </a:extLst>
            </p:cNvPr>
            <p:cNvSpPr/>
            <p:nvPr/>
          </p:nvSpPr>
          <p:spPr>
            <a:xfrm rot="16200000">
              <a:off x="232361" y="4173387"/>
              <a:ext cx="560519" cy="17672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67" b="1">
                  <a:solidFill>
                    <a:schemeClr val="bg1"/>
                  </a:solidFill>
                </a:rPr>
                <a:t>Higher</a:t>
              </a:r>
            </a:p>
          </p:txBody>
        </p:sp>
      </p:grp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D3D1CBF-821C-4962-9B39-FFB96B07B6F9}"/>
              </a:ext>
            </a:extLst>
          </p:cNvPr>
          <p:cNvCxnSpPr>
            <a:cxnSpLocks/>
          </p:cNvCxnSpPr>
          <p:nvPr/>
        </p:nvCxnSpPr>
        <p:spPr>
          <a:xfrm flipV="1">
            <a:off x="3532718" y="3677585"/>
            <a:ext cx="8412468" cy="150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504552F-5DF8-4ECC-9DDB-AD45553FEAB7}"/>
              </a:ext>
            </a:extLst>
          </p:cNvPr>
          <p:cNvCxnSpPr>
            <a:cxnSpLocks/>
          </p:cNvCxnSpPr>
          <p:nvPr/>
        </p:nvCxnSpPr>
        <p:spPr>
          <a:xfrm flipV="1">
            <a:off x="3814385" y="4668703"/>
            <a:ext cx="8157411" cy="682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5315881C-34A2-470B-876B-7942AF38FB6A}"/>
              </a:ext>
            </a:extLst>
          </p:cNvPr>
          <p:cNvCxnSpPr>
            <a:cxnSpLocks/>
          </p:cNvCxnSpPr>
          <p:nvPr/>
        </p:nvCxnSpPr>
        <p:spPr>
          <a:xfrm>
            <a:off x="4043077" y="5679152"/>
            <a:ext cx="782684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Rectangle: Rounded Corners 88">
            <a:extLst>
              <a:ext uri="{FF2B5EF4-FFF2-40B4-BE49-F238E27FC236}">
                <a16:creationId xmlns:a16="http://schemas.microsoft.com/office/drawing/2014/main" id="{FF4EDA5B-F833-4E34-AB35-E18C50291B2B}"/>
              </a:ext>
            </a:extLst>
          </p:cNvPr>
          <p:cNvSpPr/>
          <p:nvPr/>
        </p:nvSpPr>
        <p:spPr>
          <a:xfrm>
            <a:off x="9534393" y="2776674"/>
            <a:ext cx="1233263" cy="381268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5: </a:t>
            </a:r>
            <a:r>
              <a:rPr lang="en-US" sz="1200" b="1">
                <a:solidFill>
                  <a:schemeClr val="bg1"/>
                </a:solidFill>
              </a:rPr>
              <a:t>KPs </a:t>
            </a:r>
          </a:p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srvc</a:t>
            </a:r>
            <a:r>
              <a:rPr lang="en-US" sz="1200" b="1" dirty="0">
                <a:solidFill>
                  <a:schemeClr val="bg1"/>
                </a:solidFill>
              </a:rPr>
              <a:t>. coverag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93D13F73-51A6-407E-89E1-541BDC11D44E}"/>
              </a:ext>
            </a:extLst>
          </p:cNvPr>
          <p:cNvSpPr/>
          <p:nvPr/>
        </p:nvSpPr>
        <p:spPr>
          <a:xfrm>
            <a:off x="9534393" y="2343005"/>
            <a:ext cx="1233263" cy="381268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1: Impact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A8F1FC79-7606-4B2A-9FC6-DE231887270F}"/>
              </a:ext>
            </a:extLst>
          </p:cNvPr>
          <p:cNvSpPr/>
          <p:nvPr/>
        </p:nvSpPr>
        <p:spPr>
          <a:xfrm>
            <a:off x="10865365" y="2367329"/>
            <a:ext cx="1179691" cy="356944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2: Service delivery</a:t>
            </a: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3BD203A9-317C-4596-A10B-63B289D9992D}"/>
              </a:ext>
            </a:extLst>
          </p:cNvPr>
          <p:cNvSpPr/>
          <p:nvPr/>
        </p:nvSpPr>
        <p:spPr>
          <a:xfrm>
            <a:off x="10811793" y="2776674"/>
            <a:ext cx="1233263" cy="381268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6: RSSH </a:t>
            </a:r>
          </a:p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(a, b, c, d, e)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F3D52FE-3CA3-489B-98D8-1984BC89DE41}"/>
              </a:ext>
            </a:extLst>
          </p:cNvPr>
          <p:cNvSpPr/>
          <p:nvPr/>
        </p:nvSpPr>
        <p:spPr>
          <a:xfrm>
            <a:off x="9534393" y="3205450"/>
            <a:ext cx="1233263" cy="381268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KPI 8: Gender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&amp; age equality</a:t>
            </a: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E9E6F19B-8211-4F6E-A8FD-94F3C5D2A7EE}"/>
              </a:ext>
            </a:extLst>
          </p:cNvPr>
          <p:cNvSpPr/>
          <p:nvPr/>
        </p:nvSpPr>
        <p:spPr>
          <a:xfrm>
            <a:off x="10811793" y="3205450"/>
            <a:ext cx="1233263" cy="381268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9a: </a:t>
            </a:r>
            <a:r>
              <a:rPr lang="en-US" sz="1200" b="1" err="1">
                <a:solidFill>
                  <a:schemeClr val="bg1"/>
                </a:solidFill>
              </a:rPr>
              <a:t>HRts</a:t>
            </a:r>
            <a:r>
              <a:rPr lang="en-US" sz="1200" b="1">
                <a:solidFill>
                  <a:schemeClr val="bg1"/>
                </a:solidFill>
              </a:rPr>
              <a:t> barriers</a:t>
            </a:r>
          </a:p>
        </p:txBody>
      </p:sp>
      <p:sp>
        <p:nvSpPr>
          <p:cNvPr id="60" name="Freeform 6">
            <a:extLst>
              <a:ext uri="{FF2B5EF4-FFF2-40B4-BE49-F238E27FC236}">
                <a16:creationId xmlns:a16="http://schemas.microsoft.com/office/drawing/2014/main" id="{89E7D9DF-9F66-4D59-A3CA-70BDAE00C51D}"/>
              </a:ext>
            </a:extLst>
          </p:cNvPr>
          <p:cNvSpPr>
            <a:spLocks/>
          </p:cNvSpPr>
          <p:nvPr/>
        </p:nvSpPr>
        <p:spPr bwMode="auto">
          <a:xfrm>
            <a:off x="1012921" y="5591154"/>
            <a:ext cx="212481" cy="174577"/>
          </a:xfrm>
          <a:custGeom>
            <a:avLst/>
            <a:gdLst/>
            <a:ahLst/>
            <a:cxnLst>
              <a:cxn ang="0">
                <a:pos x="278" y="0"/>
              </a:cxn>
              <a:cxn ang="0">
                <a:pos x="83" y="130"/>
              </a:cxn>
              <a:cxn ang="0">
                <a:pos x="0" y="32"/>
              </a:cxn>
              <a:cxn ang="0">
                <a:pos x="278" y="0"/>
              </a:cxn>
            </a:cxnLst>
            <a:rect l="0" t="0" r="r" b="b"/>
            <a:pathLst>
              <a:path w="278" h="130">
                <a:moveTo>
                  <a:pt x="278" y="0"/>
                </a:moveTo>
                <a:lnTo>
                  <a:pt x="83" y="130"/>
                </a:lnTo>
                <a:lnTo>
                  <a:pt x="0" y="32"/>
                </a:lnTo>
                <a:lnTo>
                  <a:pt x="278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1" name="Freeform 7">
            <a:extLst>
              <a:ext uri="{FF2B5EF4-FFF2-40B4-BE49-F238E27FC236}">
                <a16:creationId xmlns:a16="http://schemas.microsoft.com/office/drawing/2014/main" id="{F9EEA537-7B35-4C7F-AA3B-4025107EC50C}"/>
              </a:ext>
            </a:extLst>
          </p:cNvPr>
          <p:cNvSpPr>
            <a:spLocks/>
          </p:cNvSpPr>
          <p:nvPr/>
        </p:nvSpPr>
        <p:spPr bwMode="auto">
          <a:xfrm>
            <a:off x="3814386" y="5596422"/>
            <a:ext cx="213245" cy="17457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9" y="32"/>
              </a:cxn>
              <a:cxn ang="0">
                <a:pos x="195" y="130"/>
              </a:cxn>
              <a:cxn ang="0">
                <a:pos x="0" y="0"/>
              </a:cxn>
            </a:cxnLst>
            <a:rect l="0" t="0" r="r" b="b"/>
            <a:pathLst>
              <a:path w="279" h="130">
                <a:moveTo>
                  <a:pt x="0" y="0"/>
                </a:moveTo>
                <a:lnTo>
                  <a:pt x="279" y="32"/>
                </a:lnTo>
                <a:lnTo>
                  <a:pt x="195" y="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74" name="Freeform 10">
            <a:extLst>
              <a:ext uri="{FF2B5EF4-FFF2-40B4-BE49-F238E27FC236}">
                <a16:creationId xmlns:a16="http://schemas.microsoft.com/office/drawing/2014/main" id="{1CAC5412-D818-4A2B-9BC9-CD9EEB6ED450}"/>
              </a:ext>
            </a:extLst>
          </p:cNvPr>
          <p:cNvSpPr>
            <a:spLocks/>
          </p:cNvSpPr>
          <p:nvPr/>
        </p:nvSpPr>
        <p:spPr bwMode="auto">
          <a:xfrm>
            <a:off x="710411" y="2254853"/>
            <a:ext cx="3614776" cy="4362521"/>
          </a:xfrm>
          <a:custGeom>
            <a:avLst/>
            <a:gdLst/>
            <a:ahLst/>
            <a:cxnLst>
              <a:cxn ang="0">
                <a:pos x="1574" y="0"/>
              </a:cxn>
              <a:cxn ang="0">
                <a:pos x="3165" y="2174"/>
              </a:cxn>
              <a:cxn ang="0">
                <a:pos x="0" y="2174"/>
              </a:cxn>
              <a:cxn ang="0">
                <a:pos x="1574" y="0"/>
              </a:cxn>
            </a:cxnLst>
            <a:rect l="0" t="0" r="r" b="b"/>
            <a:pathLst>
              <a:path w="3165" h="2174">
                <a:moveTo>
                  <a:pt x="1574" y="0"/>
                </a:moveTo>
                <a:lnTo>
                  <a:pt x="3165" y="2174"/>
                </a:lnTo>
                <a:lnTo>
                  <a:pt x="0" y="2174"/>
                </a:lnTo>
                <a:lnTo>
                  <a:pt x="1574" y="0"/>
                </a:lnTo>
                <a:close/>
              </a:path>
            </a:pathLst>
          </a:custGeom>
          <a:solidFill>
            <a:srgbClr val="25406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5" name="Freeform 6">
            <a:extLst>
              <a:ext uri="{FF2B5EF4-FFF2-40B4-BE49-F238E27FC236}">
                <a16:creationId xmlns:a16="http://schemas.microsoft.com/office/drawing/2014/main" id="{F73DBCCD-335D-47A6-91E5-3F477F16A23F}"/>
              </a:ext>
            </a:extLst>
          </p:cNvPr>
          <p:cNvSpPr>
            <a:spLocks/>
          </p:cNvSpPr>
          <p:nvPr/>
        </p:nvSpPr>
        <p:spPr bwMode="auto">
          <a:xfrm>
            <a:off x="1306478" y="4627157"/>
            <a:ext cx="212481" cy="174577"/>
          </a:xfrm>
          <a:custGeom>
            <a:avLst/>
            <a:gdLst/>
            <a:ahLst/>
            <a:cxnLst>
              <a:cxn ang="0">
                <a:pos x="278" y="0"/>
              </a:cxn>
              <a:cxn ang="0">
                <a:pos x="83" y="130"/>
              </a:cxn>
              <a:cxn ang="0">
                <a:pos x="0" y="32"/>
              </a:cxn>
              <a:cxn ang="0">
                <a:pos x="278" y="0"/>
              </a:cxn>
            </a:cxnLst>
            <a:rect l="0" t="0" r="r" b="b"/>
            <a:pathLst>
              <a:path w="278" h="130">
                <a:moveTo>
                  <a:pt x="278" y="0"/>
                </a:moveTo>
                <a:lnTo>
                  <a:pt x="83" y="130"/>
                </a:lnTo>
                <a:lnTo>
                  <a:pt x="0" y="32"/>
                </a:lnTo>
                <a:lnTo>
                  <a:pt x="278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6" name="Freeform 7">
            <a:extLst>
              <a:ext uri="{FF2B5EF4-FFF2-40B4-BE49-F238E27FC236}">
                <a16:creationId xmlns:a16="http://schemas.microsoft.com/office/drawing/2014/main" id="{57F76241-915A-40A2-8957-ABAD1D4676B7}"/>
              </a:ext>
            </a:extLst>
          </p:cNvPr>
          <p:cNvSpPr>
            <a:spLocks/>
          </p:cNvSpPr>
          <p:nvPr/>
        </p:nvSpPr>
        <p:spPr bwMode="auto">
          <a:xfrm>
            <a:off x="3509638" y="4632425"/>
            <a:ext cx="213245" cy="17457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9" y="32"/>
              </a:cxn>
              <a:cxn ang="0">
                <a:pos x="195" y="130"/>
              </a:cxn>
              <a:cxn ang="0">
                <a:pos x="0" y="0"/>
              </a:cxn>
            </a:cxnLst>
            <a:rect l="0" t="0" r="r" b="b"/>
            <a:pathLst>
              <a:path w="279" h="130">
                <a:moveTo>
                  <a:pt x="0" y="0"/>
                </a:moveTo>
                <a:lnTo>
                  <a:pt x="279" y="32"/>
                </a:lnTo>
                <a:lnTo>
                  <a:pt x="195" y="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800"/>
          </a:p>
        </p:txBody>
      </p:sp>
      <p:sp>
        <p:nvSpPr>
          <p:cNvPr id="97" name="Freeform 10">
            <a:extLst>
              <a:ext uri="{FF2B5EF4-FFF2-40B4-BE49-F238E27FC236}">
                <a16:creationId xmlns:a16="http://schemas.microsoft.com/office/drawing/2014/main" id="{685F8CFE-D890-46D1-B44A-FFF4365D8DEE}"/>
              </a:ext>
            </a:extLst>
          </p:cNvPr>
          <p:cNvSpPr>
            <a:spLocks/>
          </p:cNvSpPr>
          <p:nvPr/>
        </p:nvSpPr>
        <p:spPr bwMode="auto">
          <a:xfrm>
            <a:off x="1012676" y="2011178"/>
            <a:ext cx="3010249" cy="3632943"/>
          </a:xfrm>
          <a:custGeom>
            <a:avLst/>
            <a:gdLst/>
            <a:ahLst/>
            <a:cxnLst>
              <a:cxn ang="0">
                <a:pos x="1574" y="0"/>
              </a:cxn>
              <a:cxn ang="0">
                <a:pos x="3165" y="2174"/>
              </a:cxn>
              <a:cxn ang="0">
                <a:pos x="0" y="2174"/>
              </a:cxn>
              <a:cxn ang="0">
                <a:pos x="1574" y="0"/>
              </a:cxn>
            </a:cxnLst>
            <a:rect l="0" t="0" r="r" b="b"/>
            <a:pathLst>
              <a:path w="3165" h="2174">
                <a:moveTo>
                  <a:pt x="1574" y="0"/>
                </a:moveTo>
                <a:lnTo>
                  <a:pt x="3165" y="2174"/>
                </a:lnTo>
                <a:lnTo>
                  <a:pt x="0" y="2174"/>
                </a:lnTo>
                <a:lnTo>
                  <a:pt x="1574" y="0"/>
                </a:lnTo>
                <a:close/>
              </a:path>
            </a:pathLst>
          </a:custGeom>
          <a:solidFill>
            <a:srgbClr val="37609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8" name="Freeform 6">
            <a:extLst>
              <a:ext uri="{FF2B5EF4-FFF2-40B4-BE49-F238E27FC236}">
                <a16:creationId xmlns:a16="http://schemas.microsoft.com/office/drawing/2014/main" id="{BBAE6371-9943-4995-A8EC-1D18AE487AA7}"/>
              </a:ext>
            </a:extLst>
          </p:cNvPr>
          <p:cNvSpPr>
            <a:spLocks/>
          </p:cNvSpPr>
          <p:nvPr/>
        </p:nvSpPr>
        <p:spPr bwMode="auto">
          <a:xfrm>
            <a:off x="1599548" y="3632130"/>
            <a:ext cx="212481" cy="174577"/>
          </a:xfrm>
          <a:custGeom>
            <a:avLst/>
            <a:gdLst/>
            <a:ahLst/>
            <a:cxnLst>
              <a:cxn ang="0">
                <a:pos x="278" y="0"/>
              </a:cxn>
              <a:cxn ang="0">
                <a:pos x="83" y="130"/>
              </a:cxn>
              <a:cxn ang="0">
                <a:pos x="0" y="32"/>
              </a:cxn>
              <a:cxn ang="0">
                <a:pos x="278" y="0"/>
              </a:cxn>
            </a:cxnLst>
            <a:rect l="0" t="0" r="r" b="b"/>
            <a:pathLst>
              <a:path w="278" h="130">
                <a:moveTo>
                  <a:pt x="278" y="0"/>
                </a:moveTo>
                <a:lnTo>
                  <a:pt x="83" y="130"/>
                </a:lnTo>
                <a:lnTo>
                  <a:pt x="0" y="32"/>
                </a:lnTo>
                <a:lnTo>
                  <a:pt x="278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accent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99" name="Freeform 7">
            <a:extLst>
              <a:ext uri="{FF2B5EF4-FFF2-40B4-BE49-F238E27FC236}">
                <a16:creationId xmlns:a16="http://schemas.microsoft.com/office/drawing/2014/main" id="{773B263B-D2E8-47A6-BFD0-8B84769685B9}"/>
              </a:ext>
            </a:extLst>
          </p:cNvPr>
          <p:cNvSpPr>
            <a:spLocks/>
          </p:cNvSpPr>
          <p:nvPr/>
        </p:nvSpPr>
        <p:spPr bwMode="auto">
          <a:xfrm>
            <a:off x="3212183" y="3632130"/>
            <a:ext cx="213245" cy="17457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9" y="32"/>
              </a:cxn>
              <a:cxn ang="0">
                <a:pos x="195" y="130"/>
              </a:cxn>
              <a:cxn ang="0">
                <a:pos x="0" y="0"/>
              </a:cxn>
            </a:cxnLst>
            <a:rect l="0" t="0" r="r" b="b"/>
            <a:pathLst>
              <a:path w="279" h="130">
                <a:moveTo>
                  <a:pt x="0" y="0"/>
                </a:moveTo>
                <a:lnTo>
                  <a:pt x="279" y="32"/>
                </a:lnTo>
                <a:lnTo>
                  <a:pt x="195" y="13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accent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0" name="Freeform 8">
            <a:extLst>
              <a:ext uri="{FF2B5EF4-FFF2-40B4-BE49-F238E27FC236}">
                <a16:creationId xmlns:a16="http://schemas.microsoft.com/office/drawing/2014/main" id="{8CEC3C1F-8C3C-4593-89BB-881BA5D0ECFC}"/>
              </a:ext>
            </a:extLst>
          </p:cNvPr>
          <p:cNvSpPr>
            <a:spLocks/>
          </p:cNvSpPr>
          <p:nvPr/>
        </p:nvSpPr>
        <p:spPr bwMode="auto">
          <a:xfrm>
            <a:off x="1882268" y="2709556"/>
            <a:ext cx="212481" cy="175921"/>
          </a:xfrm>
          <a:custGeom>
            <a:avLst/>
            <a:gdLst/>
            <a:ahLst/>
            <a:cxnLst>
              <a:cxn ang="0">
                <a:pos x="278" y="0"/>
              </a:cxn>
              <a:cxn ang="0">
                <a:pos x="84" y="131"/>
              </a:cxn>
              <a:cxn ang="0">
                <a:pos x="0" y="32"/>
              </a:cxn>
              <a:cxn ang="0">
                <a:pos x="278" y="0"/>
              </a:cxn>
            </a:cxnLst>
            <a:rect l="0" t="0" r="r" b="b"/>
            <a:pathLst>
              <a:path w="278" h="131">
                <a:moveTo>
                  <a:pt x="278" y="0"/>
                </a:moveTo>
                <a:lnTo>
                  <a:pt x="84" y="131"/>
                </a:lnTo>
                <a:lnTo>
                  <a:pt x="0" y="32"/>
                </a:lnTo>
                <a:lnTo>
                  <a:pt x="278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1" name="Freeform 9">
            <a:extLst>
              <a:ext uri="{FF2B5EF4-FFF2-40B4-BE49-F238E27FC236}">
                <a16:creationId xmlns:a16="http://schemas.microsoft.com/office/drawing/2014/main" id="{F345A3A3-600B-49C4-BDDA-27B246208AB2}"/>
              </a:ext>
            </a:extLst>
          </p:cNvPr>
          <p:cNvSpPr>
            <a:spLocks/>
          </p:cNvSpPr>
          <p:nvPr/>
        </p:nvSpPr>
        <p:spPr bwMode="auto">
          <a:xfrm>
            <a:off x="2941614" y="2709556"/>
            <a:ext cx="212481" cy="17592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8" y="32"/>
              </a:cxn>
              <a:cxn ang="0">
                <a:pos x="195" y="131"/>
              </a:cxn>
              <a:cxn ang="0">
                <a:pos x="0" y="0"/>
              </a:cxn>
            </a:cxnLst>
            <a:rect l="0" t="0" r="r" b="b"/>
            <a:pathLst>
              <a:path w="278" h="131">
                <a:moveTo>
                  <a:pt x="0" y="0"/>
                </a:moveTo>
                <a:lnTo>
                  <a:pt x="278" y="32"/>
                </a:lnTo>
                <a:lnTo>
                  <a:pt x="195" y="13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2" name="Freeform 10">
            <a:extLst>
              <a:ext uri="{FF2B5EF4-FFF2-40B4-BE49-F238E27FC236}">
                <a16:creationId xmlns:a16="http://schemas.microsoft.com/office/drawing/2014/main" id="{0E85AE3C-A5DB-400E-ACBF-4A3BC4E1BA4A}"/>
              </a:ext>
            </a:extLst>
          </p:cNvPr>
          <p:cNvSpPr>
            <a:spLocks/>
          </p:cNvSpPr>
          <p:nvPr/>
        </p:nvSpPr>
        <p:spPr bwMode="auto">
          <a:xfrm>
            <a:off x="1308263" y="1756051"/>
            <a:ext cx="2419069" cy="2919472"/>
          </a:xfrm>
          <a:custGeom>
            <a:avLst/>
            <a:gdLst/>
            <a:ahLst/>
            <a:cxnLst>
              <a:cxn ang="0">
                <a:pos x="1574" y="0"/>
              </a:cxn>
              <a:cxn ang="0">
                <a:pos x="3165" y="2174"/>
              </a:cxn>
              <a:cxn ang="0">
                <a:pos x="0" y="2174"/>
              </a:cxn>
              <a:cxn ang="0">
                <a:pos x="1574" y="0"/>
              </a:cxn>
            </a:cxnLst>
            <a:rect l="0" t="0" r="r" b="b"/>
            <a:pathLst>
              <a:path w="3165" h="2174">
                <a:moveTo>
                  <a:pt x="1574" y="0"/>
                </a:moveTo>
                <a:lnTo>
                  <a:pt x="3165" y="2174"/>
                </a:lnTo>
                <a:lnTo>
                  <a:pt x="0" y="2174"/>
                </a:lnTo>
                <a:lnTo>
                  <a:pt x="1574" y="0"/>
                </a:lnTo>
                <a:close/>
              </a:path>
            </a:pathLst>
          </a:custGeom>
          <a:solidFill>
            <a:srgbClr val="95B3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3" name="Freeform 11">
            <a:extLst>
              <a:ext uri="{FF2B5EF4-FFF2-40B4-BE49-F238E27FC236}">
                <a16:creationId xmlns:a16="http://schemas.microsoft.com/office/drawing/2014/main" id="{D2C17D9E-4E27-4D4E-98B9-9F3FFB92FD1A}"/>
              </a:ext>
            </a:extLst>
          </p:cNvPr>
          <p:cNvSpPr>
            <a:spLocks/>
          </p:cNvSpPr>
          <p:nvPr/>
        </p:nvSpPr>
        <p:spPr bwMode="auto">
          <a:xfrm>
            <a:off x="1610934" y="1471356"/>
            <a:ext cx="1814493" cy="2207736"/>
          </a:xfrm>
          <a:custGeom>
            <a:avLst/>
            <a:gdLst/>
            <a:ahLst/>
            <a:cxnLst>
              <a:cxn ang="0">
                <a:pos x="1179" y="0"/>
              </a:cxn>
              <a:cxn ang="0">
                <a:pos x="2374" y="1644"/>
              </a:cxn>
              <a:cxn ang="0">
                <a:pos x="0" y="1644"/>
              </a:cxn>
              <a:cxn ang="0">
                <a:pos x="1179" y="0"/>
              </a:cxn>
            </a:cxnLst>
            <a:rect l="0" t="0" r="r" b="b"/>
            <a:pathLst>
              <a:path w="2374" h="1644">
                <a:moveTo>
                  <a:pt x="1179" y="0"/>
                </a:moveTo>
                <a:lnTo>
                  <a:pt x="2374" y="1644"/>
                </a:lnTo>
                <a:lnTo>
                  <a:pt x="0" y="1644"/>
                </a:lnTo>
                <a:lnTo>
                  <a:pt x="1179" y="0"/>
                </a:lnTo>
                <a:close/>
              </a:path>
            </a:pathLst>
          </a:custGeom>
          <a:solidFill>
            <a:srgbClr val="B9CDE5"/>
          </a:solidFill>
          <a:ln w="0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4" name="Freeform 12">
            <a:extLst>
              <a:ext uri="{FF2B5EF4-FFF2-40B4-BE49-F238E27FC236}">
                <a16:creationId xmlns:a16="http://schemas.microsoft.com/office/drawing/2014/main" id="{CED862C6-F0CB-4396-A1BD-A9052EC97C8B}"/>
              </a:ext>
            </a:extLst>
          </p:cNvPr>
          <p:cNvSpPr>
            <a:spLocks/>
          </p:cNvSpPr>
          <p:nvPr/>
        </p:nvSpPr>
        <p:spPr bwMode="auto">
          <a:xfrm>
            <a:off x="1879976" y="1175917"/>
            <a:ext cx="1275649" cy="1577913"/>
          </a:xfrm>
          <a:custGeom>
            <a:avLst/>
            <a:gdLst/>
            <a:ahLst/>
            <a:cxnLst>
              <a:cxn ang="0">
                <a:pos x="827" y="0"/>
              </a:cxn>
              <a:cxn ang="0">
                <a:pos x="1669" y="1175"/>
              </a:cxn>
              <a:cxn ang="0">
                <a:pos x="0" y="1175"/>
              </a:cxn>
              <a:cxn ang="0">
                <a:pos x="827" y="0"/>
              </a:cxn>
            </a:cxnLst>
            <a:rect l="0" t="0" r="r" b="b"/>
            <a:pathLst>
              <a:path w="1669" h="1175">
                <a:moveTo>
                  <a:pt x="827" y="0"/>
                </a:moveTo>
                <a:lnTo>
                  <a:pt x="1669" y="1175"/>
                </a:lnTo>
                <a:lnTo>
                  <a:pt x="0" y="1175"/>
                </a:lnTo>
                <a:lnTo>
                  <a:pt x="827" y="0"/>
                </a:lnTo>
                <a:close/>
              </a:path>
            </a:pathLst>
          </a:custGeom>
          <a:solidFill>
            <a:srgbClr val="DCE6F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A00D0658-FED1-45B1-8A5F-4FBDFE2D06D0}"/>
              </a:ext>
            </a:extLst>
          </p:cNvPr>
          <p:cNvSpPr/>
          <p:nvPr/>
        </p:nvSpPr>
        <p:spPr>
          <a:xfrm>
            <a:off x="1092752" y="5792025"/>
            <a:ext cx="2827640" cy="7001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chemeClr val="bg1"/>
                </a:solidFill>
              </a:rPr>
              <a:t>How are internal Secretariat operations performing?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9E121C9-07BE-451C-BF16-D75B67978E72}"/>
              </a:ext>
            </a:extLst>
          </p:cNvPr>
          <p:cNvSpPr/>
          <p:nvPr/>
        </p:nvSpPr>
        <p:spPr>
          <a:xfrm>
            <a:off x="1501321" y="4819429"/>
            <a:ext cx="2010499" cy="7001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chemeClr val="bg1"/>
                </a:solidFill>
              </a:rPr>
              <a:t>How are GF grant operations performing?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E7A2B406-A116-4985-9DCF-560FA74C473B}"/>
              </a:ext>
            </a:extLst>
          </p:cNvPr>
          <p:cNvSpPr/>
          <p:nvPr/>
        </p:nvSpPr>
        <p:spPr>
          <a:xfrm>
            <a:off x="1501321" y="3846833"/>
            <a:ext cx="2010499" cy="7001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chemeClr val="tx1"/>
                </a:solidFill>
              </a:rPr>
              <a:t>How are our grants </a:t>
            </a:r>
          </a:p>
          <a:p>
            <a:pPr algn="ctr"/>
            <a:r>
              <a:rPr lang="en-US" sz="1600" b="1" i="1">
                <a:solidFill>
                  <a:schemeClr val="tx1"/>
                </a:solidFill>
              </a:rPr>
              <a:t>performing?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AACFE055-34E6-4C06-A91D-5292F412E28D}"/>
              </a:ext>
            </a:extLst>
          </p:cNvPr>
          <p:cNvSpPr/>
          <p:nvPr/>
        </p:nvSpPr>
        <p:spPr>
          <a:xfrm>
            <a:off x="1611699" y="2874236"/>
            <a:ext cx="1789747" cy="7001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>
                <a:solidFill>
                  <a:schemeClr val="tx1"/>
                </a:solidFill>
              </a:rPr>
              <a:t>How are </a:t>
            </a:r>
          </a:p>
          <a:p>
            <a:pPr algn="ctr"/>
            <a:r>
              <a:rPr lang="en-US" sz="1600" b="1" i="1">
                <a:solidFill>
                  <a:schemeClr val="tx1"/>
                </a:solidFill>
              </a:rPr>
              <a:t> countries we </a:t>
            </a:r>
          </a:p>
          <a:p>
            <a:pPr algn="ctr"/>
            <a:r>
              <a:rPr lang="en-US" sz="1600" b="1" i="1">
                <a:solidFill>
                  <a:schemeClr val="tx1"/>
                </a:solidFill>
              </a:rPr>
              <a:t>are supporting performing?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21648E9-D9FB-4023-87B4-64BC716B9CE8}"/>
              </a:ext>
            </a:extLst>
          </p:cNvPr>
          <p:cNvSpPr/>
          <p:nvPr/>
        </p:nvSpPr>
        <p:spPr>
          <a:xfrm>
            <a:off x="1821313" y="1860879"/>
            <a:ext cx="1370519" cy="7001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How is </a:t>
            </a:r>
          </a:p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global </a:t>
            </a:r>
          </a:p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effort </a:t>
            </a:r>
          </a:p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performing?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6FE51F2-6455-48E0-B13B-A98360E5AA2A}"/>
              </a:ext>
            </a:extLst>
          </p:cNvPr>
          <p:cNvSpPr/>
          <p:nvPr/>
        </p:nvSpPr>
        <p:spPr>
          <a:xfrm>
            <a:off x="1943801" y="2066523"/>
            <a:ext cx="307732" cy="304800"/>
          </a:xfrm>
          <a:prstGeom prst="ellipse">
            <a:avLst/>
          </a:prstGeom>
          <a:solidFill>
            <a:srgbClr val="DCE6F2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A0459A0A-8F24-4323-8C7F-9805A8048A8B}"/>
              </a:ext>
            </a:extLst>
          </p:cNvPr>
          <p:cNvSpPr/>
          <p:nvPr/>
        </p:nvSpPr>
        <p:spPr>
          <a:xfrm>
            <a:off x="1657506" y="3004483"/>
            <a:ext cx="307732" cy="304800"/>
          </a:xfrm>
          <a:prstGeom prst="ellipse">
            <a:avLst/>
          </a:prstGeom>
          <a:solidFill>
            <a:srgbClr val="B9CDE5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B4034BAC-6BBB-448F-8670-DAA764A657A5}"/>
              </a:ext>
            </a:extLst>
          </p:cNvPr>
          <p:cNvSpPr/>
          <p:nvPr/>
        </p:nvSpPr>
        <p:spPr>
          <a:xfrm>
            <a:off x="1367343" y="4006555"/>
            <a:ext cx="307732" cy="304800"/>
          </a:xfrm>
          <a:prstGeom prst="ellipse">
            <a:avLst/>
          </a:prstGeom>
          <a:solidFill>
            <a:srgbClr val="95B3D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3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FA6EFDD-B124-4774-9D40-A9CF4E45CB02}"/>
              </a:ext>
            </a:extLst>
          </p:cNvPr>
          <p:cNvSpPr/>
          <p:nvPr/>
        </p:nvSpPr>
        <p:spPr>
          <a:xfrm>
            <a:off x="1029695" y="4955116"/>
            <a:ext cx="307732" cy="304800"/>
          </a:xfrm>
          <a:prstGeom prst="ellipse">
            <a:avLst/>
          </a:prstGeom>
          <a:solidFill>
            <a:srgbClr val="37609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4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B3C6D4C8-14C6-416A-8E65-A96BA85EE540}"/>
              </a:ext>
            </a:extLst>
          </p:cNvPr>
          <p:cNvSpPr/>
          <p:nvPr/>
        </p:nvSpPr>
        <p:spPr>
          <a:xfrm>
            <a:off x="754269" y="5899247"/>
            <a:ext cx="307732" cy="304800"/>
          </a:xfrm>
          <a:prstGeom prst="ellipse">
            <a:avLst/>
          </a:prstGeom>
          <a:solidFill>
            <a:srgbClr val="25406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5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B9EED65-E8EF-409F-A8D9-9F90B83D949E}"/>
              </a:ext>
            </a:extLst>
          </p:cNvPr>
          <p:cNvSpPr/>
          <p:nvPr/>
        </p:nvSpPr>
        <p:spPr>
          <a:xfrm>
            <a:off x="4043077" y="4590346"/>
            <a:ext cx="1608848" cy="466973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10: Resource mobilization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B2650EDF-C088-4A09-ACB1-A22A0B221FAB}"/>
              </a:ext>
            </a:extLst>
          </p:cNvPr>
          <p:cNvSpPr/>
          <p:nvPr/>
        </p:nvSpPr>
        <p:spPr>
          <a:xfrm>
            <a:off x="4043659" y="5124381"/>
            <a:ext cx="1533006" cy="53222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12: Availability of affordable health tech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E491BE5A-E5B2-4E1C-9AFE-75C28A12C8F1}"/>
              </a:ext>
            </a:extLst>
          </p:cNvPr>
          <p:cNvSpPr/>
          <p:nvPr/>
        </p:nvSpPr>
        <p:spPr>
          <a:xfrm>
            <a:off x="5883471" y="3241168"/>
            <a:ext cx="1914800" cy="34554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6f: NSP Alignment  </a:t>
            </a:r>
          </a:p>
        </p:txBody>
      </p: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id="{4A077DEA-E14D-4890-B5B1-AE231F03C044}"/>
              </a:ext>
            </a:extLst>
          </p:cNvPr>
          <p:cNvSpPr/>
          <p:nvPr/>
        </p:nvSpPr>
        <p:spPr>
          <a:xfrm>
            <a:off x="5883471" y="2663952"/>
            <a:ext cx="1888930" cy="49398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4: Investment efficiency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62814883-357C-4DE1-8472-16F3B45F592C}"/>
              </a:ext>
            </a:extLst>
          </p:cNvPr>
          <p:cNvSpPr/>
          <p:nvPr/>
        </p:nvSpPr>
        <p:spPr>
          <a:xfrm>
            <a:off x="3920392" y="2682983"/>
            <a:ext cx="1712174" cy="493989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9c: Human Rights &amp; Key Pops in UMICs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74971A10-2AB4-48A0-945C-573B4C732342}"/>
              </a:ext>
            </a:extLst>
          </p:cNvPr>
          <p:cNvSpPr/>
          <p:nvPr/>
        </p:nvSpPr>
        <p:spPr>
          <a:xfrm>
            <a:off x="3920392" y="3241168"/>
            <a:ext cx="1712174" cy="458937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11: Domestic</a:t>
            </a:r>
          </a:p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 investments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1861CFDE-B1A0-40A5-A266-7CE25C29D842}"/>
              </a:ext>
            </a:extLst>
          </p:cNvPr>
          <p:cNvSpPr/>
          <p:nvPr/>
        </p:nvSpPr>
        <p:spPr>
          <a:xfrm>
            <a:off x="5883471" y="4590346"/>
            <a:ext cx="1914800" cy="466973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3: Alignment of investment &amp; need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E94195F3-84FD-499D-8B12-0474E6030D52}"/>
              </a:ext>
            </a:extLst>
          </p:cNvPr>
          <p:cNvSpPr/>
          <p:nvPr/>
        </p:nvSpPr>
        <p:spPr>
          <a:xfrm>
            <a:off x="7913111" y="4590346"/>
            <a:ext cx="1608848" cy="466973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7a: Allocation utilization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1D6ACF00-7DF8-4FE6-8CAF-A507CA494858}"/>
              </a:ext>
            </a:extLst>
          </p:cNvPr>
          <p:cNvSpPr/>
          <p:nvPr/>
        </p:nvSpPr>
        <p:spPr>
          <a:xfrm>
            <a:off x="7925545" y="3705840"/>
            <a:ext cx="1608848" cy="43414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>
                <a:solidFill>
                  <a:schemeClr val="bg1"/>
                </a:solidFill>
              </a:rPr>
              <a:t>KPI 7b: Absorptive capacity</a:t>
            </a: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E7DFE034-BCD0-4375-808B-7B9A26E338F5}"/>
              </a:ext>
            </a:extLst>
          </p:cNvPr>
          <p:cNvSpPr/>
          <p:nvPr/>
        </p:nvSpPr>
        <p:spPr>
          <a:xfrm>
            <a:off x="5895905" y="3705840"/>
            <a:ext cx="1914800" cy="434141"/>
          </a:xfrm>
          <a:prstGeom prst="round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PI 9b: Human Rights &amp; </a:t>
            </a:r>
          </a:p>
          <a:p>
            <a:pPr algn="ctr">
              <a:lnSpc>
                <a:spcPts val="1133"/>
              </a:lnSpc>
            </a:pPr>
            <a:r>
              <a:rPr lang="en-US" sz="1200" b="1" dirty="0">
                <a:solidFill>
                  <a:schemeClr val="bg1"/>
                </a:solidFill>
              </a:rPr>
              <a:t>Key Pop in MICs</a:t>
            </a:r>
          </a:p>
        </p:txBody>
      </p:sp>
      <p:sp>
        <p:nvSpPr>
          <p:cNvPr id="95" name="Slide Number Placeholder 2">
            <a:extLst>
              <a:ext uri="{FF2B5EF4-FFF2-40B4-BE49-F238E27FC236}">
                <a16:creationId xmlns:a16="http://schemas.microsoft.com/office/drawing/2014/main" id="{470B8755-74E1-4290-86D5-2450C5DD4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13070" y="6331628"/>
            <a:ext cx="411892" cy="365125"/>
          </a:xfrm>
        </p:spPr>
        <p:txBody>
          <a:bodyPr/>
          <a:lstStyle/>
          <a:p>
            <a:r>
              <a:rPr lang="en-US" sz="1400">
                <a:solidFill>
                  <a:prstClr val="white">
                    <a:lumMod val="75000"/>
                  </a:prstClr>
                </a:solidFill>
              </a:rPr>
              <a:t>6</a:t>
            </a:r>
          </a:p>
        </p:txBody>
      </p:sp>
      <p:sp>
        <p:nvSpPr>
          <p:cNvPr id="94" name="Title 2">
            <a:extLst>
              <a:ext uri="{FF2B5EF4-FFF2-40B4-BE49-F238E27FC236}">
                <a16:creationId xmlns:a16="http://schemas.microsoft.com/office/drawing/2014/main" id="{931027B2-D93C-4C8E-8E6A-6AA2AF4B0E0E}"/>
              </a:ext>
            </a:extLst>
          </p:cNvPr>
          <p:cNvSpPr txBox="1">
            <a:spLocks/>
          </p:cNvSpPr>
          <p:nvPr/>
        </p:nvSpPr>
        <p:spPr>
          <a:xfrm>
            <a:off x="722493" y="317803"/>
            <a:ext cx="10752000" cy="55972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rgbClr val="E8343F"/>
                </a:solidFill>
              </a:rPr>
              <a:t>Strategic Performance Framework (KPI 2017-22)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13CC25D-3BE6-4A8D-86CF-BB4733AA914E}"/>
              </a:ext>
            </a:extLst>
          </p:cNvPr>
          <p:cNvSpPr/>
          <p:nvPr/>
        </p:nvSpPr>
        <p:spPr>
          <a:xfrm>
            <a:off x="5576664" y="6266902"/>
            <a:ext cx="195704" cy="160501"/>
          </a:xfrm>
          <a:prstGeom prst="ellipse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FB9741-7E1E-409C-9882-13C7DD665627}"/>
              </a:ext>
            </a:extLst>
          </p:cNvPr>
          <p:cNvSpPr txBox="1"/>
          <p:nvPr/>
        </p:nvSpPr>
        <p:spPr>
          <a:xfrm>
            <a:off x="5865184" y="6255592"/>
            <a:ext cx="901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Grant reporting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6CBA96A1-E295-4910-A419-A20F7D3036D2}"/>
              </a:ext>
            </a:extLst>
          </p:cNvPr>
          <p:cNvSpPr/>
          <p:nvPr/>
        </p:nvSpPr>
        <p:spPr>
          <a:xfrm>
            <a:off x="6635996" y="6255592"/>
            <a:ext cx="195704" cy="16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9837700-A263-4127-B69E-D61D50FD0638}"/>
              </a:ext>
            </a:extLst>
          </p:cNvPr>
          <p:cNvSpPr txBox="1"/>
          <p:nvPr/>
        </p:nvSpPr>
        <p:spPr>
          <a:xfrm>
            <a:off x="6891843" y="6255592"/>
            <a:ext cx="10337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Country info (from CCM)</a:t>
            </a: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E124B6DE-D202-4C70-A5AB-8F256AA962FC}"/>
              </a:ext>
            </a:extLst>
          </p:cNvPr>
          <p:cNvSpPr/>
          <p:nvPr/>
        </p:nvSpPr>
        <p:spPr>
          <a:xfrm>
            <a:off x="7901580" y="6248231"/>
            <a:ext cx="195704" cy="16050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A6DB0CB3-1505-4F16-86E6-DDD31E5C0172}"/>
              </a:ext>
            </a:extLst>
          </p:cNvPr>
          <p:cNvSpPr txBox="1"/>
          <p:nvPr/>
        </p:nvSpPr>
        <p:spPr>
          <a:xfrm>
            <a:off x="8160233" y="6251385"/>
            <a:ext cx="9182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Technical partners</a:t>
            </a: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9576FA1E-266E-4F8F-BCF9-3E12AF50011E}"/>
              </a:ext>
            </a:extLst>
          </p:cNvPr>
          <p:cNvSpPr/>
          <p:nvPr/>
        </p:nvSpPr>
        <p:spPr>
          <a:xfrm>
            <a:off x="8984996" y="6254819"/>
            <a:ext cx="195704" cy="16050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4B8BE08-2872-489B-9B51-7F8D0563FFFA}"/>
              </a:ext>
            </a:extLst>
          </p:cNvPr>
          <p:cNvSpPr txBox="1"/>
          <p:nvPr/>
        </p:nvSpPr>
        <p:spPr>
          <a:xfrm>
            <a:off x="9234806" y="6242737"/>
            <a:ext cx="1111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Assessments. evaluations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83C8E594-9007-4696-826A-FA0A0FCD57E7}"/>
              </a:ext>
            </a:extLst>
          </p:cNvPr>
          <p:cNvSpPr/>
          <p:nvPr/>
        </p:nvSpPr>
        <p:spPr>
          <a:xfrm>
            <a:off x="10365988" y="6248231"/>
            <a:ext cx="195704" cy="16050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21772E8F-B0BE-4F82-8E47-A1F400BB25E8}"/>
              </a:ext>
            </a:extLst>
          </p:cNvPr>
          <p:cNvSpPr txBox="1"/>
          <p:nvPr/>
        </p:nvSpPr>
        <p:spPr>
          <a:xfrm>
            <a:off x="10613693" y="6251385"/>
            <a:ext cx="97922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Secretariat internal 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8AEE44-F13F-4B2D-888B-24D980BF99D4}"/>
              </a:ext>
            </a:extLst>
          </p:cNvPr>
          <p:cNvSpPr/>
          <p:nvPr/>
        </p:nvSpPr>
        <p:spPr>
          <a:xfrm>
            <a:off x="5408365" y="6114521"/>
            <a:ext cx="6413898" cy="6674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5F9BE80-01B5-48B6-B2EB-74AB175AD6EF}"/>
              </a:ext>
            </a:extLst>
          </p:cNvPr>
          <p:cNvSpPr/>
          <p:nvPr/>
        </p:nvSpPr>
        <p:spPr>
          <a:xfrm>
            <a:off x="4329778" y="6128011"/>
            <a:ext cx="1100262" cy="6539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ata sources</a:t>
            </a: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0A4E58A5-0D84-4849-A6F4-C843A2EE4802}"/>
              </a:ext>
            </a:extLst>
          </p:cNvPr>
          <p:cNvSpPr/>
          <p:nvPr/>
        </p:nvSpPr>
        <p:spPr>
          <a:xfrm>
            <a:off x="7641100" y="3784293"/>
            <a:ext cx="195704" cy="160501"/>
          </a:xfrm>
          <a:prstGeom prst="ellipse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C8C593F0-3E01-487E-AB3F-9C4872A792ED}"/>
              </a:ext>
            </a:extLst>
          </p:cNvPr>
          <p:cNvSpPr/>
          <p:nvPr/>
        </p:nvSpPr>
        <p:spPr>
          <a:xfrm>
            <a:off x="9420020" y="3760735"/>
            <a:ext cx="195704" cy="160501"/>
          </a:xfrm>
          <a:prstGeom prst="ellipse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17E040EB-023F-4D5B-85AD-8A6D01AA6353}"/>
              </a:ext>
            </a:extLst>
          </p:cNvPr>
          <p:cNvSpPr/>
          <p:nvPr/>
        </p:nvSpPr>
        <p:spPr>
          <a:xfrm>
            <a:off x="11941300" y="2537797"/>
            <a:ext cx="195704" cy="160501"/>
          </a:xfrm>
          <a:prstGeom prst="ellipse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3ABA065-83E5-43D4-8CF6-3EE77411DA71}"/>
              </a:ext>
            </a:extLst>
          </p:cNvPr>
          <p:cNvSpPr/>
          <p:nvPr/>
        </p:nvSpPr>
        <p:spPr>
          <a:xfrm>
            <a:off x="11913946" y="2970889"/>
            <a:ext cx="195704" cy="160501"/>
          </a:xfrm>
          <a:prstGeom prst="ellipse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07484B2C-17B4-48FA-90C1-F93C3A8E1EE8}"/>
              </a:ext>
            </a:extLst>
          </p:cNvPr>
          <p:cNvSpPr/>
          <p:nvPr/>
        </p:nvSpPr>
        <p:spPr>
          <a:xfrm>
            <a:off x="5531665" y="2989817"/>
            <a:ext cx="195704" cy="16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A37667D8-F173-4A05-A71D-357ED9D995F7}"/>
              </a:ext>
            </a:extLst>
          </p:cNvPr>
          <p:cNvSpPr/>
          <p:nvPr/>
        </p:nvSpPr>
        <p:spPr>
          <a:xfrm>
            <a:off x="5525895" y="3333048"/>
            <a:ext cx="195704" cy="16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B1454970-31BB-47A9-B3E0-1B0B3B7F3B27}"/>
              </a:ext>
            </a:extLst>
          </p:cNvPr>
          <p:cNvSpPr/>
          <p:nvPr/>
        </p:nvSpPr>
        <p:spPr>
          <a:xfrm>
            <a:off x="9248668" y="2902110"/>
            <a:ext cx="195704" cy="16050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0DD11B85-6206-4B63-9D30-65E0BA494C49}"/>
              </a:ext>
            </a:extLst>
          </p:cNvPr>
          <p:cNvSpPr/>
          <p:nvPr/>
        </p:nvSpPr>
        <p:spPr>
          <a:xfrm>
            <a:off x="7729841" y="3019914"/>
            <a:ext cx="195704" cy="16050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5B95E24-A963-4035-AFA6-CE817ACA7D73}"/>
              </a:ext>
            </a:extLst>
          </p:cNvPr>
          <p:cNvSpPr/>
          <p:nvPr/>
        </p:nvSpPr>
        <p:spPr>
          <a:xfrm>
            <a:off x="10656679" y="2558575"/>
            <a:ext cx="195704" cy="16050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55891360-5372-4EDD-BE9B-D74563E16B81}"/>
              </a:ext>
            </a:extLst>
          </p:cNvPr>
          <p:cNvSpPr/>
          <p:nvPr/>
        </p:nvSpPr>
        <p:spPr>
          <a:xfrm>
            <a:off x="11938034" y="2343520"/>
            <a:ext cx="195704" cy="16050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3CEC0180-ECDD-4C62-9C8E-1FEFFB7318C4}"/>
              </a:ext>
            </a:extLst>
          </p:cNvPr>
          <p:cNvSpPr/>
          <p:nvPr/>
        </p:nvSpPr>
        <p:spPr>
          <a:xfrm>
            <a:off x="10669804" y="3305549"/>
            <a:ext cx="195704" cy="16050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F54DFDBE-5B86-4240-A80D-436A225D387C}"/>
              </a:ext>
            </a:extLst>
          </p:cNvPr>
          <p:cNvSpPr/>
          <p:nvPr/>
        </p:nvSpPr>
        <p:spPr>
          <a:xfrm>
            <a:off x="7693587" y="3327595"/>
            <a:ext cx="195704" cy="16050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97035E5B-D331-4A52-BA91-1B7D4361FF19}"/>
              </a:ext>
            </a:extLst>
          </p:cNvPr>
          <p:cNvSpPr/>
          <p:nvPr/>
        </p:nvSpPr>
        <p:spPr>
          <a:xfrm>
            <a:off x="7712505" y="2817563"/>
            <a:ext cx="195704" cy="16050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D6B7DE2B-EB5D-4D1E-8731-0A741272105B}"/>
              </a:ext>
            </a:extLst>
          </p:cNvPr>
          <p:cNvSpPr/>
          <p:nvPr/>
        </p:nvSpPr>
        <p:spPr>
          <a:xfrm>
            <a:off x="11910282" y="2777753"/>
            <a:ext cx="195704" cy="16050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9D75A147-C33F-4482-9C9A-937B15E13CAE}"/>
              </a:ext>
            </a:extLst>
          </p:cNvPr>
          <p:cNvSpPr/>
          <p:nvPr/>
        </p:nvSpPr>
        <p:spPr>
          <a:xfrm>
            <a:off x="11910282" y="3280726"/>
            <a:ext cx="195704" cy="16050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78504D98-C93B-4BD8-B537-0E184B665336}"/>
              </a:ext>
            </a:extLst>
          </p:cNvPr>
          <p:cNvSpPr/>
          <p:nvPr/>
        </p:nvSpPr>
        <p:spPr>
          <a:xfrm>
            <a:off x="10620807" y="2882738"/>
            <a:ext cx="195704" cy="160501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F74D3233-3F8B-4AA7-B9FA-7B7369D64249}"/>
              </a:ext>
            </a:extLst>
          </p:cNvPr>
          <p:cNvSpPr/>
          <p:nvPr/>
        </p:nvSpPr>
        <p:spPr>
          <a:xfrm>
            <a:off x="9392261" y="4802674"/>
            <a:ext cx="195704" cy="16050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C758FA11-6AAB-47C0-BDCC-373CC9648BC6}"/>
              </a:ext>
            </a:extLst>
          </p:cNvPr>
          <p:cNvSpPr/>
          <p:nvPr/>
        </p:nvSpPr>
        <p:spPr>
          <a:xfrm>
            <a:off x="5532495" y="4780130"/>
            <a:ext cx="195704" cy="16050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291E0996-447C-4256-AACA-2172948BF44B}"/>
              </a:ext>
            </a:extLst>
          </p:cNvPr>
          <p:cNvSpPr/>
          <p:nvPr/>
        </p:nvSpPr>
        <p:spPr>
          <a:xfrm>
            <a:off x="5554073" y="5259125"/>
            <a:ext cx="195704" cy="16050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7343F077-326E-4921-8465-B98D05779640}"/>
              </a:ext>
            </a:extLst>
          </p:cNvPr>
          <p:cNvSpPr/>
          <p:nvPr/>
        </p:nvSpPr>
        <p:spPr>
          <a:xfrm>
            <a:off x="7630578" y="4831842"/>
            <a:ext cx="195704" cy="16050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719679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4B6A236-9EA2-48E0-9179-2CAF9C9040AF}"/>
              </a:ext>
            </a:extLst>
          </p:cNvPr>
          <p:cNvGrpSpPr/>
          <p:nvPr/>
        </p:nvGrpSpPr>
        <p:grpSpPr>
          <a:xfrm>
            <a:off x="2728995" y="1451101"/>
            <a:ext cx="9001061" cy="4734582"/>
            <a:chOff x="2763863" y="1476871"/>
            <a:chExt cx="5565085" cy="2905053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9515CEA-249F-4070-AF31-77765DC3D7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17681" y="1476871"/>
              <a:ext cx="2211267" cy="290505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" name="Isosceles Triangle 1">
              <a:extLst>
                <a:ext uri="{FF2B5EF4-FFF2-40B4-BE49-F238E27FC236}">
                  <a16:creationId xmlns:a16="http://schemas.microsoft.com/office/drawing/2014/main" id="{95DEB8C2-A8ED-47E1-A4A3-1EA234D9B9D9}"/>
                </a:ext>
              </a:extLst>
            </p:cNvPr>
            <p:cNvSpPr/>
            <p:nvPr/>
          </p:nvSpPr>
          <p:spPr>
            <a:xfrm rot="16200000">
              <a:off x="3002242" y="1261937"/>
              <a:ext cx="2881607" cy="3358366"/>
            </a:xfrm>
            <a:prstGeom prst="triangle">
              <a:avLst>
                <a:gd name="adj" fmla="val 76579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CE7C2540-5E0F-40BA-A59A-D3258F150FD2}"/>
              </a:ext>
            </a:extLst>
          </p:cNvPr>
          <p:cNvSpPr/>
          <p:nvPr/>
        </p:nvSpPr>
        <p:spPr>
          <a:xfrm>
            <a:off x="6199766" y="1658978"/>
            <a:ext cx="895607" cy="46010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BBF8290-4569-486B-9AE8-66A278859ACD}"/>
              </a:ext>
            </a:extLst>
          </p:cNvPr>
          <p:cNvSpPr/>
          <p:nvPr/>
        </p:nvSpPr>
        <p:spPr>
          <a:xfrm>
            <a:off x="2499146" y="1654895"/>
            <a:ext cx="895607" cy="46115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B0E6A81-2F08-4BB5-846F-3219B886679F}"/>
              </a:ext>
            </a:extLst>
          </p:cNvPr>
          <p:cNvSpPr/>
          <p:nvPr/>
        </p:nvSpPr>
        <p:spPr>
          <a:xfrm>
            <a:off x="4959878" y="1657617"/>
            <a:ext cx="895607" cy="46087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C346F38-7027-40FD-9FC7-1B6A0C417983}"/>
              </a:ext>
            </a:extLst>
          </p:cNvPr>
          <p:cNvSpPr/>
          <p:nvPr/>
        </p:nvSpPr>
        <p:spPr>
          <a:xfrm>
            <a:off x="3685150" y="1649906"/>
            <a:ext cx="895607" cy="46101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7A891A4-D4F5-468C-B849-E7C0704E3301}"/>
              </a:ext>
            </a:extLst>
          </p:cNvPr>
          <p:cNvSpPr txBox="1"/>
          <p:nvPr/>
        </p:nvSpPr>
        <p:spPr>
          <a:xfrm>
            <a:off x="4943872" y="1236680"/>
            <a:ext cx="1641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Country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64A161F-E4EC-4BB1-AC3B-57FC9BB52A25}"/>
              </a:ext>
            </a:extLst>
          </p:cNvPr>
          <p:cNvSpPr txBox="1"/>
          <p:nvPr/>
        </p:nvSpPr>
        <p:spPr>
          <a:xfrm>
            <a:off x="3630099" y="1235292"/>
            <a:ext cx="1456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Region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7" imgW="501" imgH="502" progId="TCLayout.ActiveDocument.1">
                  <p:embed/>
                </p:oleObj>
              </mc:Choice>
              <mc:Fallback>
                <p:oleObj name="think-cell Slide" r:id="rId7" imgW="501" imgH="502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67" b="1" i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128105" y="1770810"/>
            <a:ext cx="5484551" cy="3854423"/>
            <a:chOff x="1516039" y="2710370"/>
            <a:chExt cx="5484565" cy="3854414"/>
          </a:xfrm>
        </p:grpSpPr>
        <p:sp>
          <p:nvSpPr>
            <p:cNvPr id="28" name="Rectangle 27"/>
            <p:cNvSpPr/>
            <p:nvPr/>
          </p:nvSpPr>
          <p:spPr>
            <a:xfrm>
              <a:off x="1521649" y="2710370"/>
              <a:ext cx="3938109" cy="402859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General Information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521648" y="3204896"/>
              <a:ext cx="3938111" cy="400239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Health Financing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521649" y="4220504"/>
              <a:ext cx="5478954" cy="40268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Financial Performance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521649" y="4715030"/>
              <a:ext cx="5478954" cy="400239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Risk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521651" y="5681404"/>
              <a:ext cx="5478953" cy="40023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000000"/>
                  </a:solidFill>
                </a:rPr>
                <a:t>Disease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1521650" y="5207109"/>
              <a:ext cx="5478954" cy="400239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Process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1516039" y="6161925"/>
              <a:ext cx="5478954" cy="402859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rgbClr val="000000"/>
                  </a:solidFill>
                </a:rPr>
                <a:t>Key Insights</a:t>
              </a:r>
              <a:endParaRPr lang="en-US" sz="11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188326" y="247994"/>
            <a:ext cx="11766975" cy="527044"/>
          </a:xfrm>
        </p:spPr>
        <p:txBody>
          <a:bodyPr vert="horz" lIns="0" tIns="0" rIns="0" bIns="60960" rtlCol="0" anchor="t" anchorCtr="0">
            <a:noAutofit/>
          </a:bodyPr>
          <a:lstStyle/>
          <a:p>
            <a:pPr algn="ctr" defTabSz="914332"/>
            <a:r>
              <a:rPr lang="en-US" sz="3200" b="1" dirty="0">
                <a:solidFill>
                  <a:srgbClr val="E8343F"/>
                </a:solidFill>
              </a:rPr>
              <a:t>Data and Analytics (</a:t>
            </a:r>
            <a:r>
              <a:rPr lang="en-US" sz="3200" b="1" dirty="0" err="1">
                <a:solidFill>
                  <a:srgbClr val="E8343F"/>
                </a:solidFill>
              </a:rPr>
              <a:t>DnA</a:t>
            </a:r>
            <a:r>
              <a:rPr lang="en-US" sz="3200" b="1" dirty="0">
                <a:solidFill>
                  <a:srgbClr val="E8343F"/>
                </a:solidFill>
              </a:rPr>
              <a:t>):  </a:t>
            </a:r>
            <a:br>
              <a:rPr lang="en-US" sz="3200" b="1" dirty="0">
                <a:solidFill>
                  <a:srgbClr val="E8343F"/>
                </a:solidFill>
              </a:rPr>
            </a:br>
            <a:r>
              <a:rPr lang="en-US" sz="3200" dirty="0">
                <a:solidFill>
                  <a:srgbClr val="E8343F"/>
                </a:solidFill>
              </a:rPr>
              <a:t>Central interactive portal for grant management data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07891" y="4979141"/>
            <a:ext cx="1377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Future Releas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17763" y="3086993"/>
            <a:ext cx="1377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Launche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C318224-DB8C-44DA-A8D6-4E0ED8B3359C}"/>
              </a:ext>
            </a:extLst>
          </p:cNvPr>
          <p:cNvSpPr txBox="1"/>
          <p:nvPr/>
        </p:nvSpPr>
        <p:spPr>
          <a:xfrm>
            <a:off x="6232097" y="1254405"/>
            <a:ext cx="13040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Gran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5FFB9C7-B9CF-4D70-AD04-0C0D44131F8D}"/>
              </a:ext>
            </a:extLst>
          </p:cNvPr>
          <p:cNvSpPr txBox="1"/>
          <p:nvPr/>
        </p:nvSpPr>
        <p:spPr>
          <a:xfrm>
            <a:off x="2512881" y="1245327"/>
            <a:ext cx="1422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00"/>
                </a:solidFill>
              </a:rPr>
              <a:t>Global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36BEDA7-7533-4A20-8422-2D96D5FA4F6B}"/>
              </a:ext>
            </a:extLst>
          </p:cNvPr>
          <p:cNvSpPr/>
          <p:nvPr/>
        </p:nvSpPr>
        <p:spPr>
          <a:xfrm>
            <a:off x="2131389" y="5701041"/>
            <a:ext cx="5478940" cy="4028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000000"/>
                </a:solidFill>
              </a:rPr>
              <a:t>Country Coordinating Mechanism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81F759-8B70-4E43-89EE-3A7866B2788A}"/>
              </a:ext>
            </a:extLst>
          </p:cNvPr>
          <p:cNvSpPr/>
          <p:nvPr/>
        </p:nvSpPr>
        <p:spPr>
          <a:xfrm>
            <a:off x="2133717" y="2777567"/>
            <a:ext cx="5478940" cy="40024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Programmatic Performance</a:t>
            </a:r>
          </a:p>
        </p:txBody>
      </p:sp>
      <p:sp>
        <p:nvSpPr>
          <p:cNvPr id="6" name="Left Brace 5">
            <a:extLst>
              <a:ext uri="{FF2B5EF4-FFF2-40B4-BE49-F238E27FC236}">
                <a16:creationId xmlns:a16="http://schemas.microsoft.com/office/drawing/2014/main" id="{1CB5CC34-063A-4557-B79E-6C4D9B67F4A8}"/>
              </a:ext>
            </a:extLst>
          </p:cNvPr>
          <p:cNvSpPr/>
          <p:nvPr/>
        </p:nvSpPr>
        <p:spPr>
          <a:xfrm>
            <a:off x="1616430" y="1878859"/>
            <a:ext cx="276305" cy="2788936"/>
          </a:xfrm>
          <a:prstGeom prst="leftBrace">
            <a:avLst/>
          </a:prstGeom>
          <a:ln w="57150">
            <a:solidFill>
              <a:srgbClr val="4080B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Left Brace 37">
            <a:extLst>
              <a:ext uri="{FF2B5EF4-FFF2-40B4-BE49-F238E27FC236}">
                <a16:creationId xmlns:a16="http://schemas.microsoft.com/office/drawing/2014/main" id="{13CA996F-9956-4A17-8017-F54B21C4ABC3}"/>
              </a:ext>
            </a:extLst>
          </p:cNvPr>
          <p:cNvSpPr/>
          <p:nvPr/>
        </p:nvSpPr>
        <p:spPr>
          <a:xfrm>
            <a:off x="1635470" y="4797152"/>
            <a:ext cx="276305" cy="1290641"/>
          </a:xfrm>
          <a:prstGeom prst="leftBrace">
            <a:avLst/>
          </a:prstGeom>
          <a:ln w="57150">
            <a:solidFill>
              <a:srgbClr val="4080B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03540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4F0CEB-D4E7-4F96-8A65-1F74544157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0745" y="1891"/>
          <a:ext cx="1891" cy="18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4F0CEB-D4E7-4F96-8A65-1F74544157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0745" y="1891"/>
                        <a:ext cx="1891" cy="18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135DA6-7AFC-424B-B2F6-DC42FCDAC6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08854" y="0"/>
            <a:ext cx="189030" cy="18903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39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D7C19-689D-4E6F-9267-9944036272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912" y="322690"/>
            <a:ext cx="10949189" cy="559461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E8343F"/>
                </a:solidFill>
                <a:latin typeface="Arial"/>
              </a:rPr>
              <a:t>HIV data used for fund allo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C928D5-6A2D-40D0-A8B2-379F924969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54299" y="5709989"/>
            <a:ext cx="391023" cy="365126"/>
          </a:xfrm>
        </p:spPr>
        <p:txBody>
          <a:bodyPr/>
          <a:lstStyle/>
          <a:p>
            <a:fld id="{1D1E3EDB-D7EB-F14E-A6D1-748C03EC5EDC}" type="slidenum">
              <a:rPr lang="en-US" smtClean="0"/>
              <a:t>7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83CAAA-529F-494B-851F-950315ADB406}"/>
              </a:ext>
            </a:extLst>
          </p:cNvPr>
          <p:cNvSpPr txBox="1"/>
          <p:nvPr/>
        </p:nvSpPr>
        <p:spPr>
          <a:xfrm>
            <a:off x="6924092" y="1572972"/>
            <a:ext cx="4978894" cy="365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2" b="1" dirty="0"/>
              <a:t>Stage 2</a:t>
            </a:r>
            <a:endParaRPr lang="en-GB" sz="1772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0091F3-89BD-454A-89A8-48B04447ACAF}"/>
              </a:ext>
            </a:extLst>
          </p:cNvPr>
          <p:cNvSpPr txBox="1"/>
          <p:nvPr/>
        </p:nvSpPr>
        <p:spPr>
          <a:xfrm>
            <a:off x="2511834" y="1572972"/>
            <a:ext cx="5330360" cy="365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72" b="1" dirty="0"/>
              <a:t>Stage 1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E41FA46-9881-4795-B676-07265A9DB4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823759"/>
              </p:ext>
            </p:extLst>
          </p:nvPr>
        </p:nvGraphicFramePr>
        <p:xfrm>
          <a:off x="3833456" y="1979684"/>
          <a:ext cx="2424985" cy="40272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05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4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9728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>
                        <a:solidFill>
                          <a:schemeClr val="bg1"/>
                        </a:solidFill>
                      </a:endParaRPr>
                    </a:p>
                  </a:txBody>
                  <a:tcPr marL="115743" marR="115743" marT="57871" marB="5787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Populations disproportionately affected by HIV</a:t>
                      </a:r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marL="115743" marR="115743" marT="57871" marB="5787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2995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/>
                        <a:t>Parameters</a:t>
                      </a:r>
                      <a:endParaRPr lang="en-GB" sz="1400" i="1"/>
                    </a:p>
                  </a:txBody>
                  <a:tcPr marL="115743" marR="115743" marT="57871" marB="57871" vert="vert27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Key Populations</a:t>
                      </a:r>
                      <a:r>
                        <a:rPr lang="en-US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(HIV incidence, prevalence, size, etc.)</a:t>
                      </a:r>
                      <a:endParaRPr lang="en-GB" sz="2000" b="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5743" marR="115743" marT="57871" marB="5787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CA954993-942E-4FCD-8726-65D231E35D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7592154"/>
              </p:ext>
            </p:extLst>
          </p:nvPr>
        </p:nvGraphicFramePr>
        <p:xfrm>
          <a:off x="6384032" y="1992484"/>
          <a:ext cx="5508612" cy="44075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060340">
                  <a:extLst>
                    <a:ext uri="{9D8B030D-6E8A-4147-A177-3AD203B41FA5}">
                      <a16:colId xmlns:a16="http://schemas.microsoft.com/office/drawing/2014/main" val="1557629169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1835094134"/>
                    </a:ext>
                  </a:extLst>
                </a:gridCol>
              </a:tblGrid>
              <a:tr h="752440">
                <a:tc>
                  <a:txBody>
                    <a:bodyPr/>
                    <a:lstStyle/>
                    <a:p>
                      <a:pPr algn="ctr"/>
                      <a:r>
                        <a:rPr lang="en-US" sz="2400" b="1" baseline="0" dirty="0"/>
                        <a:t>A</a:t>
                      </a:r>
                      <a:r>
                        <a:rPr lang="en-US" sz="2400" b="1" dirty="0"/>
                        <a:t>bsorption</a:t>
                      </a:r>
                      <a:r>
                        <a:rPr lang="en-US" sz="2400" b="1" baseline="0" dirty="0"/>
                        <a:t> and impact</a:t>
                      </a:r>
                      <a:endParaRPr lang="en-GB" sz="2400" b="1" dirty="0"/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/>
                        <a:t>Other considerations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647158"/>
                  </a:ext>
                </a:extLst>
              </a:tr>
              <a:tr h="3584544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2400" dirty="0">
                          <a:solidFill>
                            <a:schemeClr val="bg2"/>
                          </a:solidFill>
                        </a:rPr>
                        <a:t>P</a:t>
                      </a:r>
                      <a:r>
                        <a:rPr lang="en-US" sz="2400" baseline="0" dirty="0">
                          <a:solidFill>
                            <a:schemeClr val="bg2"/>
                          </a:solidFill>
                        </a:rPr>
                        <a:t>otential </a:t>
                      </a:r>
                      <a:r>
                        <a:rPr lang="en-US" sz="2400" kern="1200" baseline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for</a:t>
                      </a:r>
                      <a:r>
                        <a:rPr lang="en-US" sz="2400" b="1" kern="1200" baseline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impact </a:t>
                      </a:r>
                      <a:r>
                        <a:rPr lang="en-US" sz="2400" baseline="0" dirty="0">
                          <a:solidFill>
                            <a:schemeClr val="bg2"/>
                          </a:solidFill>
                        </a:rPr>
                        <a:t>and </a:t>
                      </a:r>
                      <a:r>
                        <a:rPr lang="en-US" sz="2400" b="1" baseline="0" dirty="0">
                          <a:solidFill>
                            <a:schemeClr val="bg2"/>
                          </a:solidFill>
                        </a:rPr>
                        <a:t>absorption</a:t>
                      </a:r>
                      <a:endParaRPr lang="en-GB" sz="2400" b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Cost of </a:t>
                      </a:r>
                      <a:r>
                        <a:rPr lang="en-US" sz="2000" b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essential</a:t>
                      </a:r>
                      <a:r>
                        <a:rPr lang="en-US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programming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Coverage</a:t>
                      </a:r>
                      <a:r>
                        <a:rPr lang="en-US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1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gaps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bg2"/>
                          </a:solidFill>
                        </a:rPr>
                        <a:t>Risk of malaria resurg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301031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6C7F889F-1C31-4B0D-BBB5-317A3154FFE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8295" t="20396" r="21931" b="15258"/>
          <a:stretch/>
        </p:blipFill>
        <p:spPr>
          <a:xfrm>
            <a:off x="6635214" y="3753036"/>
            <a:ext cx="2772308" cy="2536580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A05773-2848-4527-9834-C40B17A01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833293"/>
              </p:ext>
            </p:extLst>
          </p:nvPr>
        </p:nvGraphicFramePr>
        <p:xfrm>
          <a:off x="289015" y="1891630"/>
          <a:ext cx="3587456" cy="460921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32765">
                  <a:extLst>
                    <a:ext uri="{9D8B030D-6E8A-4147-A177-3AD203B41FA5}">
                      <a16:colId xmlns:a16="http://schemas.microsoft.com/office/drawing/2014/main" val="414009816"/>
                    </a:ext>
                  </a:extLst>
                </a:gridCol>
                <a:gridCol w="2354691">
                  <a:extLst>
                    <a:ext uri="{9D8B030D-6E8A-4147-A177-3AD203B41FA5}">
                      <a16:colId xmlns:a16="http://schemas.microsoft.com/office/drawing/2014/main" val="2306928693"/>
                    </a:ext>
                  </a:extLst>
                </a:gridCol>
              </a:tblGrid>
              <a:tr h="1067337">
                <a:tc>
                  <a:txBody>
                    <a:bodyPr/>
                    <a:lstStyle/>
                    <a:p>
                      <a:endParaRPr lang="en-US" sz="1800" b="1" dirty="0"/>
                    </a:p>
                    <a:p>
                      <a:r>
                        <a:rPr lang="en-US" sz="1800" b="1" dirty="0"/>
                        <a:t>Disease burden</a:t>
                      </a:r>
                      <a:endParaRPr lang="en-GB" sz="1800" b="1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bg2"/>
                          </a:solidFill>
                        </a:rPr>
                        <a:t>Number of people living with HIV</a:t>
                      </a:r>
                      <a:endParaRPr lang="en-GB" sz="2000" b="1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520701"/>
                  </a:ext>
                </a:extLst>
              </a:tr>
              <a:tr h="786193">
                <a:tc>
                  <a:txBody>
                    <a:bodyPr/>
                    <a:lstStyle/>
                    <a:p>
                      <a:r>
                        <a:rPr lang="en-US" sz="1600" b="1" dirty="0"/>
                        <a:t>Economic Capacity</a:t>
                      </a:r>
                      <a:endParaRPr lang="en-GB" sz="1600" b="1" dirty="0"/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baseline="0" dirty="0"/>
                        <a:t>Based on GNI per capita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658193"/>
                  </a:ext>
                </a:extLst>
              </a:tr>
              <a:tr h="1355063">
                <a:tc>
                  <a:txBody>
                    <a:bodyPr/>
                    <a:lstStyle/>
                    <a:p>
                      <a:r>
                        <a:rPr lang="en-GB" sz="1600" b="1" dirty="0"/>
                        <a:t>Max / Min Shares</a:t>
                      </a:r>
                    </a:p>
                  </a:txBody>
                  <a:tcPr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800" b="0" dirty="0"/>
                        <a:t>- Max: 10% funding of</a:t>
                      </a:r>
                      <a:r>
                        <a:rPr lang="en-US" sz="1800" b="0" baseline="0" dirty="0"/>
                        <a:t> each disease component; 7.5% of all countr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800" b="0" baseline="0" dirty="0"/>
                        <a:t>- Min: $500,000 per component </a:t>
                      </a:r>
                      <a:endParaRPr lang="en-GB" sz="1800" b="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828714"/>
                  </a:ext>
                </a:extLst>
              </a:tr>
              <a:tr h="1018322">
                <a:tc>
                  <a:txBody>
                    <a:bodyPr/>
                    <a:lstStyle/>
                    <a:p>
                      <a:r>
                        <a:rPr lang="en-US" sz="1600" b="1" i="0" dirty="0"/>
                        <a:t>Other External Financing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800" b="0" dirty="0"/>
                        <a:t>Projections of other </a:t>
                      </a:r>
                      <a:r>
                        <a:rPr lang="en-US" sz="2000" b="0" dirty="0"/>
                        <a:t>external financing </a:t>
                      </a:r>
                      <a:endParaRPr lang="en-GB" sz="1800" i="1" u="sng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504010"/>
                  </a:ext>
                </a:extLst>
              </a:tr>
            </a:tbl>
          </a:graphicData>
        </a:graphic>
      </p:graphicFrame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B259D87C-81A6-48C3-AB90-E7C4DCF28206}"/>
              </a:ext>
            </a:extLst>
          </p:cNvPr>
          <p:cNvSpPr/>
          <p:nvPr/>
        </p:nvSpPr>
        <p:spPr>
          <a:xfrm>
            <a:off x="4115780" y="998701"/>
            <a:ext cx="7884876" cy="552120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Qualitative Adjustments</a:t>
            </a:r>
            <a:endParaRPr lang="en-GB" sz="2800" b="1" dirty="0">
              <a:solidFill>
                <a:schemeClr val="bg1"/>
              </a:solidFill>
            </a:endParaRP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81551A7C-7C13-44FF-8CD6-7D193FEE87BB}"/>
              </a:ext>
            </a:extLst>
          </p:cNvPr>
          <p:cNvSpPr/>
          <p:nvPr/>
        </p:nvSpPr>
        <p:spPr>
          <a:xfrm>
            <a:off x="517815" y="998242"/>
            <a:ext cx="3820632" cy="552579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   Allocation Formula</a:t>
            </a:r>
            <a:endParaRPr lang="en-GB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200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03032-F3BC-45FC-B009-8099C5C8DD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08" y="238005"/>
            <a:ext cx="10704592" cy="665543"/>
          </a:xfrm>
        </p:spPr>
        <p:txBody>
          <a:bodyPr/>
          <a:lstStyle/>
          <a:p>
            <a:pPr algn="ctr"/>
            <a:r>
              <a:rPr lang="en-US" sz="3600" b="1" dirty="0">
                <a:solidFill>
                  <a:srgbClr val="E8343F"/>
                </a:solidFill>
                <a:latin typeface="Arial"/>
              </a:rPr>
              <a:t>Data collection and use </a:t>
            </a:r>
            <a:br>
              <a:rPr lang="en-US" sz="3600" b="1" dirty="0">
                <a:solidFill>
                  <a:srgbClr val="E8343F"/>
                </a:solidFill>
                <a:latin typeface="Arial"/>
              </a:rPr>
            </a:br>
            <a:r>
              <a:rPr lang="en-US" sz="3600" dirty="0">
                <a:solidFill>
                  <a:srgbClr val="E8343F"/>
                </a:solidFill>
                <a:latin typeface="Arial"/>
              </a:rPr>
              <a:t>at various stages of grant lifecycl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F99ABD-D135-489F-A58C-A7AA9F637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8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5A8E882-547C-4E13-B9F0-8689CC7E11EB}"/>
              </a:ext>
            </a:extLst>
          </p:cNvPr>
          <p:cNvGrpSpPr/>
          <p:nvPr/>
        </p:nvGrpSpPr>
        <p:grpSpPr>
          <a:xfrm>
            <a:off x="659396" y="1398220"/>
            <a:ext cx="10413553" cy="5384264"/>
            <a:chOff x="988167" y="1743908"/>
            <a:chExt cx="7024627" cy="3266317"/>
          </a:xfrm>
        </p:grpSpPr>
        <p:sp>
          <p:nvSpPr>
            <p:cNvPr id="8" name="Chevron 36">
              <a:extLst>
                <a:ext uri="{FF2B5EF4-FFF2-40B4-BE49-F238E27FC236}">
                  <a16:creationId xmlns:a16="http://schemas.microsoft.com/office/drawing/2014/main" id="{A93F912F-BF6A-482D-BC60-DECB8382749E}"/>
                </a:ext>
              </a:extLst>
            </p:cNvPr>
            <p:cNvSpPr/>
            <p:nvPr/>
          </p:nvSpPr>
          <p:spPr>
            <a:xfrm>
              <a:off x="1298235" y="2330824"/>
              <a:ext cx="1462888" cy="492148"/>
            </a:xfrm>
            <a:prstGeom prst="chevr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 Country dialogue</a:t>
              </a:r>
            </a:p>
          </p:txBody>
        </p:sp>
        <p:sp>
          <p:nvSpPr>
            <p:cNvPr id="9" name="Chevron 33">
              <a:extLst>
                <a:ext uri="{FF2B5EF4-FFF2-40B4-BE49-F238E27FC236}">
                  <a16:creationId xmlns:a16="http://schemas.microsoft.com/office/drawing/2014/main" id="{1C5212C9-878A-4D0B-A859-BB7D94984B82}"/>
                </a:ext>
              </a:extLst>
            </p:cNvPr>
            <p:cNvSpPr/>
            <p:nvPr/>
          </p:nvSpPr>
          <p:spPr>
            <a:xfrm>
              <a:off x="3690586" y="2337988"/>
              <a:ext cx="1414867" cy="484985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Grant making</a:t>
              </a:r>
            </a:p>
          </p:txBody>
        </p:sp>
        <p:sp>
          <p:nvSpPr>
            <p:cNvPr id="10" name="Chevron 48">
              <a:extLst>
                <a:ext uri="{FF2B5EF4-FFF2-40B4-BE49-F238E27FC236}">
                  <a16:creationId xmlns:a16="http://schemas.microsoft.com/office/drawing/2014/main" id="{47115F14-74A1-465C-B983-233F2879F2DB}"/>
                </a:ext>
              </a:extLst>
            </p:cNvPr>
            <p:cNvSpPr/>
            <p:nvPr/>
          </p:nvSpPr>
          <p:spPr>
            <a:xfrm>
              <a:off x="5821073" y="2337988"/>
              <a:ext cx="1265069" cy="484984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Year 2</a:t>
              </a:r>
            </a:p>
          </p:txBody>
        </p:sp>
        <p:sp>
          <p:nvSpPr>
            <p:cNvPr id="11" name="Chevron 49">
              <a:extLst>
                <a:ext uri="{FF2B5EF4-FFF2-40B4-BE49-F238E27FC236}">
                  <a16:creationId xmlns:a16="http://schemas.microsoft.com/office/drawing/2014/main" id="{904EA157-E6D4-479F-AD06-E487F4EAF33F}"/>
                </a:ext>
              </a:extLst>
            </p:cNvPr>
            <p:cNvSpPr/>
            <p:nvPr/>
          </p:nvSpPr>
          <p:spPr>
            <a:xfrm>
              <a:off x="4814264" y="2337988"/>
              <a:ext cx="1274589" cy="484984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Year 1</a:t>
              </a:r>
            </a:p>
          </p:txBody>
        </p:sp>
        <p:sp>
          <p:nvSpPr>
            <p:cNvPr id="12" name="Chevron 50">
              <a:extLst>
                <a:ext uri="{FF2B5EF4-FFF2-40B4-BE49-F238E27FC236}">
                  <a16:creationId xmlns:a16="http://schemas.microsoft.com/office/drawing/2014/main" id="{1F9069F5-18E2-4151-A97F-9DE062C13DD2}"/>
                </a:ext>
              </a:extLst>
            </p:cNvPr>
            <p:cNvSpPr/>
            <p:nvPr/>
          </p:nvSpPr>
          <p:spPr>
            <a:xfrm>
              <a:off x="6817064" y="2343780"/>
              <a:ext cx="1195730" cy="470780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Year 3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0327C77-EF26-4C67-9152-53E2A8CF789F}"/>
                </a:ext>
              </a:extLst>
            </p:cNvPr>
            <p:cNvSpPr txBox="1"/>
            <p:nvPr/>
          </p:nvSpPr>
          <p:spPr>
            <a:xfrm>
              <a:off x="5411539" y="3640989"/>
              <a:ext cx="124613" cy="2217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5" name="Chevron 118">
              <a:extLst>
                <a:ext uri="{FF2B5EF4-FFF2-40B4-BE49-F238E27FC236}">
                  <a16:creationId xmlns:a16="http://schemas.microsoft.com/office/drawing/2014/main" id="{F77263C9-7EF3-441B-8A79-9A4CBFC5DA85}"/>
                </a:ext>
              </a:extLst>
            </p:cNvPr>
            <p:cNvSpPr/>
            <p:nvPr/>
          </p:nvSpPr>
          <p:spPr>
            <a:xfrm>
              <a:off x="2493965" y="2341228"/>
              <a:ext cx="1495167" cy="481745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  <a:latin typeface="Arial"/>
                  <a:cs typeface="Arial"/>
                </a:rPr>
                <a:t>Funding request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E0197E6-DFAC-4FC3-861C-0F157AFDAF01}"/>
                </a:ext>
              </a:extLst>
            </p:cNvPr>
            <p:cNvSpPr/>
            <p:nvPr/>
          </p:nvSpPr>
          <p:spPr>
            <a:xfrm>
              <a:off x="5730399" y="3706498"/>
              <a:ext cx="2258204" cy="42943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000" b="1" dirty="0">
                  <a:latin typeface="Arial"/>
                  <a:cs typeface="Arial"/>
                </a:rPr>
                <a:t>Assessment of Quality</a:t>
              </a:r>
            </a:p>
            <a:p>
              <a:pPr algn="ctr"/>
              <a:r>
                <a:rPr lang="en-US" sz="2000" b="1" dirty="0">
                  <a:latin typeface="Arial"/>
                  <a:cs typeface="Arial"/>
                </a:rPr>
                <a:t>of Data and Program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DE0185A-AF51-413D-A566-1094F24F6FEE}"/>
                </a:ext>
              </a:extLst>
            </p:cNvPr>
            <p:cNvSpPr/>
            <p:nvPr/>
          </p:nvSpPr>
          <p:spPr>
            <a:xfrm>
              <a:off x="5720503" y="2922315"/>
              <a:ext cx="2268102" cy="424973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000" b="1" dirty="0">
                  <a:latin typeface="Arial"/>
                  <a:cs typeface="Arial"/>
                </a:rPr>
                <a:t>Progress updates &amp;</a:t>
              </a:r>
            </a:p>
            <a:p>
              <a:pPr algn="ctr"/>
              <a:r>
                <a:rPr lang="en-US" sz="2000" b="1" dirty="0">
                  <a:latin typeface="Arial"/>
                  <a:cs typeface="Arial"/>
                </a:rPr>
                <a:t>Annual Funding Decision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D9C4E40-B13A-43B7-8972-9E43F05491EE}"/>
                </a:ext>
              </a:extLst>
            </p:cNvPr>
            <p:cNvSpPr/>
            <p:nvPr/>
          </p:nvSpPr>
          <p:spPr>
            <a:xfrm>
              <a:off x="988167" y="2922315"/>
              <a:ext cx="1763099" cy="1718368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marL="85723"/>
              <a:r>
                <a:rPr lang="en-US" sz="2000" b="1" dirty="0">
                  <a:latin typeface="Arial"/>
                  <a:cs typeface="Arial"/>
                </a:rPr>
                <a:t>Epi-analysis ; National program reviews</a:t>
              </a:r>
            </a:p>
            <a:p>
              <a:pPr marL="85723"/>
              <a:endParaRPr lang="en-US" sz="2000" b="1" dirty="0">
                <a:latin typeface="Arial"/>
                <a:cs typeface="Arial"/>
              </a:endParaRPr>
            </a:p>
            <a:p>
              <a:pPr marL="85723"/>
              <a:r>
                <a:rPr lang="en-US" sz="2000" b="1" dirty="0">
                  <a:latin typeface="Arial"/>
                  <a:cs typeface="Arial"/>
                </a:rPr>
                <a:t>M&amp;E systems assessment</a:t>
              </a:r>
            </a:p>
            <a:p>
              <a:pPr marL="85723"/>
              <a:endParaRPr lang="en-US" sz="2000" b="1" dirty="0">
                <a:latin typeface="Arial"/>
                <a:cs typeface="Arial"/>
              </a:endParaRPr>
            </a:p>
            <a:p>
              <a:pPr marL="85723"/>
              <a:r>
                <a:rPr lang="en-US" sz="2000" b="1" dirty="0">
                  <a:latin typeface="Arial"/>
                  <a:cs typeface="Arial"/>
                </a:rPr>
                <a:t>National strategic plan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EC4B42E-5E2B-4283-A334-46AA5FB44DC4}"/>
                </a:ext>
              </a:extLst>
            </p:cNvPr>
            <p:cNvSpPr/>
            <p:nvPr/>
          </p:nvSpPr>
          <p:spPr>
            <a:xfrm>
              <a:off x="1376761" y="1743908"/>
              <a:ext cx="1194991" cy="4988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/>
                  <a:cs typeface="Arial"/>
                </a:rPr>
                <a:t>Identify gap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EE8CD79-5824-4F27-8B20-35E73CDA36E0}"/>
                </a:ext>
              </a:extLst>
            </p:cNvPr>
            <p:cNvSpPr/>
            <p:nvPr/>
          </p:nvSpPr>
          <p:spPr>
            <a:xfrm>
              <a:off x="2650277" y="1754313"/>
              <a:ext cx="1974616" cy="4988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/>
                  <a:cs typeface="Arial"/>
                </a:rPr>
                <a:t>Invest</a:t>
              </a:r>
            </a:p>
            <a:p>
              <a:pPr algn="ctr"/>
              <a:endParaRPr lang="en-US" sz="2400" b="1" dirty="0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54E052E-CF8B-4549-A1B5-AA998A85B5DD}"/>
                </a:ext>
              </a:extLst>
            </p:cNvPr>
            <p:cNvSpPr/>
            <p:nvPr/>
          </p:nvSpPr>
          <p:spPr>
            <a:xfrm>
              <a:off x="4710013" y="1756212"/>
              <a:ext cx="3278591" cy="4988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/>
                  <a:cs typeface="Arial"/>
                </a:rPr>
                <a:t>Implement, track performance </a:t>
              </a:r>
            </a:p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/>
                  <a:cs typeface="Arial"/>
                </a:rPr>
                <a:t>&amp; adjust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4B909B7-5F72-46E7-BFB8-208AE6448A64}"/>
                </a:ext>
              </a:extLst>
            </p:cNvPr>
            <p:cNvSpPr/>
            <p:nvPr/>
          </p:nvSpPr>
          <p:spPr>
            <a:xfrm>
              <a:off x="2940280" y="2922315"/>
              <a:ext cx="2345029" cy="2087910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txBody>
            <a:bodyPr wrap="square" anchor="ctr">
              <a:spAutoFit/>
            </a:bodyPr>
            <a:lstStyle/>
            <a:p>
              <a:pPr marL="185734"/>
              <a:r>
                <a:rPr lang="en-US" sz="2000" b="1" dirty="0">
                  <a:latin typeface="Arial"/>
                  <a:cs typeface="Arial"/>
                </a:rPr>
                <a:t>Investment cases</a:t>
              </a:r>
            </a:p>
            <a:p>
              <a:pPr marL="185734"/>
              <a:endParaRPr lang="en-US" sz="2000" b="1" dirty="0">
                <a:latin typeface="Arial"/>
                <a:cs typeface="Arial"/>
              </a:endParaRPr>
            </a:p>
            <a:p>
              <a:pPr marL="185734"/>
              <a:r>
                <a:rPr lang="en-US" sz="2000" b="1" dirty="0">
                  <a:latin typeface="Arial"/>
                  <a:cs typeface="Arial"/>
                </a:rPr>
                <a:t>Prioritization models</a:t>
              </a:r>
            </a:p>
            <a:p>
              <a:pPr marL="185734"/>
              <a:endParaRPr lang="en-US" sz="2000" b="1" dirty="0">
                <a:latin typeface="Arial"/>
                <a:cs typeface="Arial"/>
              </a:endParaRPr>
            </a:p>
            <a:p>
              <a:pPr marL="185734"/>
              <a:r>
                <a:rPr lang="en-US" sz="2000" b="1" dirty="0">
                  <a:latin typeface="Arial"/>
                  <a:cs typeface="Arial"/>
                </a:rPr>
                <a:t>Performance framework</a:t>
              </a:r>
            </a:p>
            <a:p>
              <a:pPr marL="185734"/>
              <a:r>
                <a:rPr lang="en-US" sz="2000" b="1" dirty="0">
                  <a:latin typeface="Arial"/>
                  <a:cs typeface="Arial"/>
                </a:rPr>
                <a:t>M&amp;E plan</a:t>
              </a:r>
            </a:p>
            <a:p>
              <a:pPr marL="185734"/>
              <a:endParaRPr lang="en-US" sz="2000" b="1" dirty="0">
                <a:latin typeface="Arial"/>
                <a:cs typeface="Arial"/>
              </a:endParaRPr>
            </a:p>
            <a:p>
              <a:pPr marL="185734"/>
              <a:r>
                <a:rPr lang="en-US" sz="2000" b="1" dirty="0">
                  <a:latin typeface="Arial"/>
                  <a:cs typeface="Arial"/>
                </a:rPr>
                <a:t>Risk assessment</a:t>
              </a:r>
            </a:p>
            <a:p>
              <a:pPr marL="185734"/>
              <a:endParaRPr lang="en-US" sz="2000" b="1" dirty="0">
                <a:latin typeface="Arial"/>
                <a:cs typeface="Arial"/>
              </a:endParaRPr>
            </a:p>
            <a:p>
              <a:pPr marL="185734"/>
              <a:r>
                <a:rPr lang="en-US" sz="2000" b="1" dirty="0">
                  <a:latin typeface="Arial"/>
                  <a:cs typeface="Arial"/>
                </a:rPr>
                <a:t>Strengthen national M&amp;E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88685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543005-D249-48F6-8A06-9943B6430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9804" y="5831946"/>
            <a:ext cx="466724" cy="293181"/>
          </a:xfrm>
        </p:spPr>
        <p:txBody>
          <a:bodyPr/>
          <a:lstStyle/>
          <a:p>
            <a:fld id="{1D1E3EDB-D7EB-F14E-A6D1-748C03EC5EDC}" type="slidenum">
              <a:rPr lang="en-US" sz="1800" smtClean="0">
                <a:solidFill>
                  <a:prstClr val="white">
                    <a:lumMod val="75000"/>
                  </a:prstClr>
                </a:solidFill>
              </a:rPr>
              <a:pPr/>
              <a:t>9</a:t>
            </a:fld>
            <a:endParaRPr lang="en-US" sz="1800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71A72FB-DC8F-451C-897A-F98E722E501D}"/>
              </a:ext>
            </a:extLst>
          </p:cNvPr>
          <p:cNvSpPr txBox="1">
            <a:spLocks/>
          </p:cNvSpPr>
          <p:nvPr/>
        </p:nvSpPr>
        <p:spPr>
          <a:xfrm>
            <a:off x="310681" y="297522"/>
            <a:ext cx="11881319" cy="67623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8530" algn="ctr"/>
            <a:r>
              <a:rPr lang="en-US" sz="3200" b="1" dirty="0">
                <a:solidFill>
                  <a:srgbClr val="E8343F"/>
                </a:solidFill>
                <a:latin typeface="Arial"/>
              </a:rPr>
              <a:t>Grant ratings and determining annual funding amount</a:t>
            </a:r>
            <a:endParaRPr lang="en-GB" sz="3200" b="1" dirty="0">
              <a:solidFill>
                <a:srgbClr val="E8343F"/>
              </a:solidFill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C012C48-C1BA-484C-8418-771A22988557}"/>
              </a:ext>
            </a:extLst>
          </p:cNvPr>
          <p:cNvGrpSpPr/>
          <p:nvPr/>
        </p:nvGrpSpPr>
        <p:grpSpPr>
          <a:xfrm>
            <a:off x="703704" y="1131179"/>
            <a:ext cx="10686100" cy="5392639"/>
            <a:chOff x="656117" y="849780"/>
            <a:chExt cx="7893603" cy="377315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DCBE81B-F325-4011-822F-056646B72F8A}"/>
                </a:ext>
              </a:extLst>
            </p:cNvPr>
            <p:cNvSpPr/>
            <p:nvPr/>
          </p:nvSpPr>
          <p:spPr>
            <a:xfrm>
              <a:off x="4918640" y="849780"/>
              <a:ext cx="1982504" cy="1567017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91D2DF-9F06-46C5-A040-FD8550523904}"/>
                </a:ext>
              </a:extLst>
            </p:cNvPr>
            <p:cNvSpPr/>
            <p:nvPr/>
          </p:nvSpPr>
          <p:spPr>
            <a:xfrm>
              <a:off x="3106389" y="2327614"/>
              <a:ext cx="1048683" cy="291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 algn="ctr"/>
              <a:r>
                <a:rPr lang="en-US" dirty="0">
                  <a:solidFill>
                    <a:schemeClr val="tx1"/>
                  </a:solidFill>
                </a:rPr>
                <a:t>90-100%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AEF1395-C2FD-427B-A31C-53167EC8B456}"/>
                </a:ext>
              </a:extLst>
            </p:cNvPr>
            <p:cNvSpPr/>
            <p:nvPr/>
          </p:nvSpPr>
          <p:spPr>
            <a:xfrm>
              <a:off x="3106388" y="2659477"/>
              <a:ext cx="1048683" cy="291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 algn="ctr"/>
              <a:r>
                <a:rPr lang="en-US" dirty="0">
                  <a:solidFill>
                    <a:schemeClr val="tx1"/>
                  </a:solidFill>
                </a:rPr>
                <a:t>60-89%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C76645D-3399-4D6E-9BB4-222833169280}"/>
                </a:ext>
              </a:extLst>
            </p:cNvPr>
            <p:cNvSpPr/>
            <p:nvPr/>
          </p:nvSpPr>
          <p:spPr>
            <a:xfrm>
              <a:off x="3106387" y="2986869"/>
              <a:ext cx="1048683" cy="291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7860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 algn="ctr"/>
              <a:r>
                <a:rPr lang="en-US" dirty="0">
                  <a:solidFill>
                    <a:schemeClr val="tx1"/>
                  </a:solidFill>
                </a:rPr>
                <a:t>30-59%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B5C717D-5135-40A0-83D1-C1B0CE319A5B}"/>
                </a:ext>
              </a:extLst>
            </p:cNvPr>
            <p:cNvSpPr/>
            <p:nvPr/>
          </p:nvSpPr>
          <p:spPr>
            <a:xfrm>
              <a:off x="3106390" y="3314261"/>
              <a:ext cx="1048683" cy="291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 algn="ctr"/>
              <a:r>
                <a:rPr lang="en-US" dirty="0">
                  <a:solidFill>
                    <a:schemeClr val="tx1"/>
                  </a:solidFill>
                </a:rPr>
                <a:t>TBD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602EF4C-40DD-45E8-ABD6-7E83ED9390AF}"/>
                </a:ext>
              </a:extLst>
            </p:cNvPr>
            <p:cNvSpPr/>
            <p:nvPr/>
          </p:nvSpPr>
          <p:spPr>
            <a:xfrm>
              <a:off x="3106390" y="2002159"/>
              <a:ext cx="1048683" cy="29188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 algn="ctr"/>
              <a:r>
                <a:rPr lang="en-US" dirty="0">
                  <a:solidFill>
                    <a:schemeClr val="tx1"/>
                  </a:solidFill>
                </a:rPr>
                <a:t>90-100%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CB0D5B-BA44-4B02-ACB9-EA187E54E1AA}"/>
                </a:ext>
              </a:extLst>
            </p:cNvPr>
            <p:cNvSpPr/>
            <p:nvPr/>
          </p:nvSpPr>
          <p:spPr>
            <a:xfrm>
              <a:off x="755581" y="1002005"/>
              <a:ext cx="1668418" cy="825989"/>
            </a:xfrm>
            <a:prstGeom prst="rect">
              <a:avLst/>
            </a:prstGeom>
            <a:solidFill>
              <a:srgbClr val="0070C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/>
                <a:t>Analysis of </a:t>
              </a:r>
            </a:p>
            <a:p>
              <a:pPr algn="ctr"/>
              <a:r>
                <a:rPr lang="en-US" sz="2000" b="1" dirty="0"/>
                <a:t>Program Performance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72073B1-239B-4C1A-8A63-E375AD00710E}"/>
                </a:ext>
              </a:extLst>
            </p:cNvPr>
            <p:cNvGrpSpPr/>
            <p:nvPr/>
          </p:nvGrpSpPr>
          <p:grpSpPr>
            <a:xfrm>
              <a:off x="656117" y="2298203"/>
              <a:ext cx="1885700" cy="672699"/>
              <a:chOff x="1527760" y="3234833"/>
              <a:chExt cx="2417226" cy="862322"/>
            </a:xfrm>
          </p:grpSpPr>
          <p:sp>
            <p:nvSpPr>
              <p:cNvPr id="58" name="Flowchart: Delay 57">
                <a:extLst>
                  <a:ext uri="{FF2B5EF4-FFF2-40B4-BE49-F238E27FC236}">
                    <a16:creationId xmlns:a16="http://schemas.microsoft.com/office/drawing/2014/main" id="{2CD062DC-8681-4C9D-8719-B62152174571}"/>
                  </a:ext>
                </a:extLst>
              </p:cNvPr>
              <p:cNvSpPr/>
              <p:nvPr/>
            </p:nvSpPr>
            <p:spPr>
              <a:xfrm>
                <a:off x="3262832" y="3235140"/>
                <a:ext cx="400050" cy="376628"/>
              </a:xfrm>
              <a:prstGeom prst="flowChartDelay">
                <a:avLst/>
              </a:prstGeom>
              <a:solidFill>
                <a:srgbClr val="00FF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E11C06FB-CBE9-4853-B4EA-6651F262A283}"/>
                  </a:ext>
                </a:extLst>
              </p:cNvPr>
              <p:cNvSpPr txBox="1"/>
              <p:nvPr/>
            </p:nvSpPr>
            <p:spPr>
              <a:xfrm>
                <a:off x="1527760" y="3683080"/>
                <a:ext cx="2417226" cy="4140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dirty="0"/>
                  <a:t>Indicator Rating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E1947969-3A66-4E96-8CA9-D689BB407EBB}"/>
                  </a:ext>
                </a:extLst>
              </p:cNvPr>
              <p:cNvSpPr/>
              <p:nvPr/>
            </p:nvSpPr>
            <p:spPr>
              <a:xfrm>
                <a:off x="3106995" y="3234833"/>
                <a:ext cx="162071" cy="37662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2" name="Flowchart: Delay 61">
                <a:extLst>
                  <a:ext uri="{FF2B5EF4-FFF2-40B4-BE49-F238E27FC236}">
                    <a16:creationId xmlns:a16="http://schemas.microsoft.com/office/drawing/2014/main" id="{C1639162-C9B5-4D2E-96C1-F4E6A2C8DEAA}"/>
                  </a:ext>
                </a:extLst>
              </p:cNvPr>
              <p:cNvSpPr/>
              <p:nvPr/>
            </p:nvSpPr>
            <p:spPr>
              <a:xfrm>
                <a:off x="2896520" y="3235450"/>
                <a:ext cx="400050" cy="376628"/>
              </a:xfrm>
              <a:prstGeom prst="flowChartDelay">
                <a:avLst/>
              </a:prstGeom>
              <a:solidFill>
                <a:srgbClr val="00B0F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E28081B6-9353-4BE5-AEB4-865EE8AB7C7C}"/>
                  </a:ext>
                </a:extLst>
              </p:cNvPr>
              <p:cNvSpPr/>
              <p:nvPr/>
            </p:nvSpPr>
            <p:spPr>
              <a:xfrm>
                <a:off x="2756884" y="3240682"/>
                <a:ext cx="162071" cy="365551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4" name="Flowchart: Delay 63">
                <a:extLst>
                  <a:ext uri="{FF2B5EF4-FFF2-40B4-BE49-F238E27FC236}">
                    <a16:creationId xmlns:a16="http://schemas.microsoft.com/office/drawing/2014/main" id="{11A4BE44-E645-4360-B21B-EF76424FC92A}"/>
                  </a:ext>
                </a:extLst>
              </p:cNvPr>
              <p:cNvSpPr/>
              <p:nvPr/>
            </p:nvSpPr>
            <p:spPr>
              <a:xfrm>
                <a:off x="2518905" y="3235140"/>
                <a:ext cx="400050" cy="376628"/>
              </a:xfrm>
              <a:prstGeom prst="flowChartDelay">
                <a:avLst/>
              </a:prstGeom>
              <a:solidFill>
                <a:srgbClr val="FFFF0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D1E437C1-D9AB-4A0C-B113-623B3459496B}"/>
                  </a:ext>
                </a:extLst>
              </p:cNvPr>
              <p:cNvSpPr/>
              <p:nvPr/>
            </p:nvSpPr>
            <p:spPr>
              <a:xfrm>
                <a:off x="2341315" y="3240681"/>
                <a:ext cx="227257" cy="365509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6" name="Flowchart: Delay 65">
                <a:extLst>
                  <a:ext uri="{FF2B5EF4-FFF2-40B4-BE49-F238E27FC236}">
                    <a16:creationId xmlns:a16="http://schemas.microsoft.com/office/drawing/2014/main" id="{E40B18D3-C6D1-4F3A-A960-560099F1ED35}"/>
                  </a:ext>
                </a:extLst>
              </p:cNvPr>
              <p:cNvSpPr/>
              <p:nvPr/>
            </p:nvSpPr>
            <p:spPr>
              <a:xfrm>
                <a:off x="2141290" y="3235140"/>
                <a:ext cx="400050" cy="376628"/>
              </a:xfrm>
              <a:prstGeom prst="flowChartDelay">
                <a:avLst/>
              </a:prstGeom>
              <a:solidFill>
                <a:srgbClr val="F78609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8B305112-1F64-489D-837C-99463913C680}"/>
                  </a:ext>
                </a:extLst>
              </p:cNvPr>
              <p:cNvSpPr txBox="1"/>
              <p:nvPr/>
            </p:nvSpPr>
            <p:spPr>
              <a:xfrm>
                <a:off x="2129308" y="3277026"/>
                <a:ext cx="445746" cy="355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b2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391B3AFA-795C-4C48-9C9E-C52D963CC7BF}"/>
                  </a:ext>
                </a:extLst>
              </p:cNvPr>
              <p:cNvSpPr txBox="1"/>
              <p:nvPr/>
            </p:nvSpPr>
            <p:spPr>
              <a:xfrm>
                <a:off x="2504577" y="3269938"/>
                <a:ext cx="445746" cy="355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b1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514E8A66-8A92-4395-B6C9-003E4463B32D}"/>
                  </a:ext>
                </a:extLst>
              </p:cNvPr>
              <p:cNvSpPr/>
              <p:nvPr/>
            </p:nvSpPr>
            <p:spPr>
              <a:xfrm>
                <a:off x="1979219" y="3240682"/>
                <a:ext cx="200025" cy="365551"/>
              </a:xfrm>
              <a:prstGeom prst="rect">
                <a:avLst/>
              </a:prstGeom>
              <a:solidFill>
                <a:srgbClr val="F7860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sp>
            <p:nvSpPr>
              <p:cNvPr id="70" name="Flowchart: Delay 69">
                <a:extLst>
                  <a:ext uri="{FF2B5EF4-FFF2-40B4-BE49-F238E27FC236}">
                    <a16:creationId xmlns:a16="http://schemas.microsoft.com/office/drawing/2014/main" id="{B6488225-77C8-4375-A91A-34F69F962EE9}"/>
                  </a:ext>
                </a:extLst>
              </p:cNvPr>
              <p:cNvSpPr/>
              <p:nvPr/>
            </p:nvSpPr>
            <p:spPr>
              <a:xfrm>
                <a:off x="1779194" y="3235140"/>
                <a:ext cx="400050" cy="376628"/>
              </a:xfrm>
              <a:prstGeom prst="flowChartDelay">
                <a:avLst/>
              </a:prstGeom>
              <a:solidFill>
                <a:srgbClr val="FF0000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C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6E491FAE-F7B0-4FB8-A738-F304827E70E6}"/>
                  </a:ext>
                </a:extLst>
              </p:cNvPr>
              <p:cNvSpPr txBox="1"/>
              <p:nvPr/>
            </p:nvSpPr>
            <p:spPr>
              <a:xfrm>
                <a:off x="2857692" y="3281064"/>
                <a:ext cx="550127" cy="355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a2</a:t>
                </a:r>
                <a:endParaRPr lang="en-US" sz="2000" b="1" dirty="0"/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6AB4BC48-78F2-4513-A6C6-DE2E6003CD84}"/>
                  </a:ext>
                </a:extLst>
              </p:cNvPr>
              <p:cNvSpPr txBox="1"/>
              <p:nvPr/>
            </p:nvSpPr>
            <p:spPr>
              <a:xfrm>
                <a:off x="3244153" y="3271674"/>
                <a:ext cx="445746" cy="3550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a1</a:t>
                </a: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19EE6FA-80C6-4373-9BF6-7953AEB5CC61}"/>
                </a:ext>
              </a:extLst>
            </p:cNvPr>
            <p:cNvSpPr/>
            <p:nvPr/>
          </p:nvSpPr>
          <p:spPr>
            <a:xfrm>
              <a:off x="2939803" y="1017403"/>
              <a:ext cx="1405024" cy="910797"/>
            </a:xfrm>
            <a:prstGeom prst="rect">
              <a:avLst/>
            </a:prstGeom>
            <a:solidFill>
              <a:srgbClr val="0070C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Indicative </a:t>
              </a:r>
            </a:p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Funding Range</a:t>
              </a:r>
            </a:p>
          </p:txBody>
        </p:sp>
        <p:sp>
          <p:nvSpPr>
            <p:cNvPr id="16" name="Flowchart: Delay 15">
              <a:extLst>
                <a:ext uri="{FF2B5EF4-FFF2-40B4-BE49-F238E27FC236}">
                  <a16:creationId xmlns:a16="http://schemas.microsoft.com/office/drawing/2014/main" id="{692B0F31-2BFA-4816-8DC3-63D0262B2C91}"/>
                </a:ext>
              </a:extLst>
            </p:cNvPr>
            <p:cNvSpPr/>
            <p:nvPr/>
          </p:nvSpPr>
          <p:spPr>
            <a:xfrm>
              <a:off x="3012022" y="2002160"/>
              <a:ext cx="312082" cy="293807"/>
            </a:xfrm>
            <a:prstGeom prst="flowChartDelay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17" name="Flowchart: Delay 16">
              <a:extLst>
                <a:ext uri="{FF2B5EF4-FFF2-40B4-BE49-F238E27FC236}">
                  <a16:creationId xmlns:a16="http://schemas.microsoft.com/office/drawing/2014/main" id="{B0C89EE8-AA57-4714-9D5E-D84D2C7BFECD}"/>
                </a:ext>
              </a:extLst>
            </p:cNvPr>
            <p:cNvSpPr/>
            <p:nvPr/>
          </p:nvSpPr>
          <p:spPr>
            <a:xfrm>
              <a:off x="3012022" y="2329057"/>
              <a:ext cx="312082" cy="293807"/>
            </a:xfrm>
            <a:prstGeom prst="flowChartDelay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18" name="Flowchart: Delay 17">
              <a:extLst>
                <a:ext uri="{FF2B5EF4-FFF2-40B4-BE49-F238E27FC236}">
                  <a16:creationId xmlns:a16="http://schemas.microsoft.com/office/drawing/2014/main" id="{E7F6F796-5689-446D-87F1-93BDE7EE5D2C}"/>
                </a:ext>
              </a:extLst>
            </p:cNvPr>
            <p:cNvSpPr/>
            <p:nvPr/>
          </p:nvSpPr>
          <p:spPr>
            <a:xfrm>
              <a:off x="3012022" y="2655954"/>
              <a:ext cx="312082" cy="293807"/>
            </a:xfrm>
            <a:prstGeom prst="flowChartDelay">
              <a:avLst/>
            </a:prstGeom>
            <a:solidFill>
              <a:srgbClr val="FFFF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19" name="Flowchart: Delay 18">
              <a:extLst>
                <a:ext uri="{FF2B5EF4-FFF2-40B4-BE49-F238E27FC236}">
                  <a16:creationId xmlns:a16="http://schemas.microsoft.com/office/drawing/2014/main" id="{F3EE52A2-5C52-409B-B2DE-7ED631E2FE7E}"/>
                </a:ext>
              </a:extLst>
            </p:cNvPr>
            <p:cNvSpPr/>
            <p:nvPr/>
          </p:nvSpPr>
          <p:spPr>
            <a:xfrm>
              <a:off x="3012022" y="2982851"/>
              <a:ext cx="312082" cy="293807"/>
            </a:xfrm>
            <a:prstGeom prst="flowChartDelay">
              <a:avLst/>
            </a:prstGeom>
            <a:solidFill>
              <a:srgbClr val="F78609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20" name="Flowchart: Delay 19">
              <a:extLst>
                <a:ext uri="{FF2B5EF4-FFF2-40B4-BE49-F238E27FC236}">
                  <a16:creationId xmlns:a16="http://schemas.microsoft.com/office/drawing/2014/main" id="{C25D5026-A1DC-4DEC-8CC2-3503E71E0A61}"/>
                </a:ext>
              </a:extLst>
            </p:cNvPr>
            <p:cNvSpPr/>
            <p:nvPr/>
          </p:nvSpPr>
          <p:spPr>
            <a:xfrm>
              <a:off x="3012022" y="3309747"/>
              <a:ext cx="312082" cy="293807"/>
            </a:xfrm>
            <a:prstGeom prst="flowChartDelay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c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567D38E-B505-4ACF-B188-57DCFB4C5628}"/>
                </a:ext>
              </a:extLst>
            </p:cNvPr>
            <p:cNvSpPr txBox="1"/>
            <p:nvPr/>
          </p:nvSpPr>
          <p:spPr>
            <a:xfrm>
              <a:off x="2979612" y="2360545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2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91576BB-994F-4B1C-AECB-195A7B1319A6}"/>
                </a:ext>
              </a:extLst>
            </p:cNvPr>
            <p:cNvSpPr txBox="1"/>
            <p:nvPr/>
          </p:nvSpPr>
          <p:spPr>
            <a:xfrm>
              <a:off x="2993670" y="2687442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b1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F6122F3-D655-4898-963E-691ABAFF8A1F}"/>
                </a:ext>
              </a:extLst>
            </p:cNvPr>
            <p:cNvSpPr txBox="1"/>
            <p:nvPr/>
          </p:nvSpPr>
          <p:spPr>
            <a:xfrm>
              <a:off x="2984861" y="3022675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b2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D109186-1E1A-416D-8F81-CE082AD197A2}"/>
                </a:ext>
              </a:extLst>
            </p:cNvPr>
            <p:cNvSpPr txBox="1"/>
            <p:nvPr/>
          </p:nvSpPr>
          <p:spPr>
            <a:xfrm>
              <a:off x="2993670" y="2041872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1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1618266B-0F24-4294-96C0-46052AD3164D}"/>
                </a:ext>
              </a:extLst>
            </p:cNvPr>
            <p:cNvCxnSpPr>
              <a:cxnSpLocks/>
              <a:stCxn id="13" idx="2"/>
            </p:cNvCxnSpPr>
            <p:nvPr/>
          </p:nvCxnSpPr>
          <p:spPr>
            <a:xfrm flipH="1">
              <a:off x="1588932" y="1827994"/>
              <a:ext cx="858" cy="368693"/>
            </a:xfrm>
            <a:prstGeom prst="straightConnector1">
              <a:avLst/>
            </a:prstGeom>
            <a:ln w="57150">
              <a:solidFill>
                <a:schemeClr val="accent3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06A2B31-0A59-44FD-9583-B631275C96B4}"/>
                </a:ext>
              </a:extLst>
            </p:cNvPr>
            <p:cNvSpPr/>
            <p:nvPr/>
          </p:nvSpPr>
          <p:spPr>
            <a:xfrm>
              <a:off x="4912450" y="849780"/>
              <a:ext cx="1982504" cy="763608"/>
            </a:xfrm>
            <a:prstGeom prst="rect">
              <a:avLst/>
            </a:prstGeom>
            <a:solidFill>
              <a:srgbClr val="0070C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/>
                <a:t>Analysis of</a:t>
              </a:r>
            </a:p>
            <a:p>
              <a:pPr algn="ctr"/>
              <a:r>
                <a:rPr lang="en-US" sz="2000" b="1" dirty="0"/>
                <a:t>Financial Performance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9A7BCB0-8125-44E9-8C58-1EC226A6135C}"/>
                </a:ext>
              </a:extLst>
            </p:cNvPr>
            <p:cNvSpPr/>
            <p:nvPr/>
          </p:nvSpPr>
          <p:spPr>
            <a:xfrm>
              <a:off x="4912450" y="1614502"/>
              <a:ext cx="1988695" cy="802295"/>
            </a:xfrm>
            <a:prstGeom prst="rect">
              <a:avLst/>
            </a:prstGeom>
            <a:solidFill>
              <a:srgbClr val="0070C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/>
                <a:t>Analysis of</a:t>
              </a:r>
            </a:p>
            <a:p>
              <a:pPr algn="ctr"/>
              <a:r>
                <a:rPr lang="en-US" sz="2000" b="1" dirty="0"/>
                <a:t>Grant Management Performance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333BCAC-B680-4196-B981-4BE328DC82DF}"/>
                </a:ext>
              </a:extLst>
            </p:cNvPr>
            <p:cNvSpPr/>
            <p:nvPr/>
          </p:nvSpPr>
          <p:spPr>
            <a:xfrm>
              <a:off x="5041400" y="2942341"/>
              <a:ext cx="2456955" cy="30607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/>
              <a:r>
                <a:rPr lang="en-US" sz="2000" dirty="0">
                  <a:solidFill>
                    <a:schemeClr val="tx1"/>
                  </a:solidFill>
                </a:rPr>
                <a:t>Meets expectations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D78E573-BEFC-4C91-B6B7-4167FC81EF0C}"/>
                </a:ext>
              </a:extLst>
            </p:cNvPr>
            <p:cNvSpPr/>
            <p:nvPr/>
          </p:nvSpPr>
          <p:spPr>
            <a:xfrm>
              <a:off x="5041398" y="3274204"/>
              <a:ext cx="2456958" cy="30607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C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/>
              <a:r>
                <a:rPr lang="en-US" sz="2000" dirty="0">
                  <a:solidFill>
                    <a:schemeClr val="tx1"/>
                  </a:solidFill>
                </a:rPr>
                <a:t>Adequate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D2EF7D2-E82B-4736-ADD7-6FED2CCB200B}"/>
                </a:ext>
              </a:extLst>
            </p:cNvPr>
            <p:cNvSpPr/>
            <p:nvPr/>
          </p:nvSpPr>
          <p:spPr>
            <a:xfrm>
              <a:off x="5041398" y="3601596"/>
              <a:ext cx="2456960" cy="30607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7860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/>
              <a:r>
                <a:rPr lang="en-US" sz="2000" dirty="0">
                  <a:solidFill>
                    <a:schemeClr val="tx1"/>
                  </a:solidFill>
                </a:rPr>
                <a:t>Inadequate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2683F2F-C1C7-4B2F-88AD-DA4DDF248099}"/>
                </a:ext>
              </a:extLst>
            </p:cNvPr>
            <p:cNvSpPr/>
            <p:nvPr/>
          </p:nvSpPr>
          <p:spPr>
            <a:xfrm>
              <a:off x="5041399" y="3928988"/>
              <a:ext cx="2456954" cy="30607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/>
              <a:r>
                <a:rPr lang="en-US" sz="2000" dirty="0">
                  <a:solidFill>
                    <a:schemeClr val="tx1"/>
                  </a:solidFill>
                </a:rPr>
                <a:t>Unacceptabl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5675DF8-D30E-4FED-A54E-C8E77CA792C4}"/>
                </a:ext>
              </a:extLst>
            </p:cNvPr>
            <p:cNvSpPr/>
            <p:nvPr/>
          </p:nvSpPr>
          <p:spPr>
            <a:xfrm>
              <a:off x="5041399" y="2616885"/>
              <a:ext cx="2456960" cy="33703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39178"/>
              <a:r>
                <a:rPr lang="en-US" sz="2000" dirty="0">
                  <a:solidFill>
                    <a:schemeClr val="tx1"/>
                  </a:solidFill>
                </a:rPr>
                <a:t>Exceeding expectations</a:t>
              </a:r>
            </a:p>
          </p:txBody>
        </p:sp>
        <p:sp>
          <p:nvSpPr>
            <p:cNvPr id="34" name="Flowchart: Delay 33">
              <a:extLst>
                <a:ext uri="{FF2B5EF4-FFF2-40B4-BE49-F238E27FC236}">
                  <a16:creationId xmlns:a16="http://schemas.microsoft.com/office/drawing/2014/main" id="{BDE9C034-7386-4DC5-AA61-3DB686B927C4}"/>
                </a:ext>
              </a:extLst>
            </p:cNvPr>
            <p:cNvSpPr/>
            <p:nvPr/>
          </p:nvSpPr>
          <p:spPr>
            <a:xfrm>
              <a:off x="4802031" y="2636765"/>
              <a:ext cx="312082" cy="293807"/>
            </a:xfrm>
            <a:prstGeom prst="flowChartDelay">
              <a:avLst/>
            </a:prstGeom>
            <a:solidFill>
              <a:srgbClr val="00FF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35" name="Flowchart: Delay 34">
              <a:extLst>
                <a:ext uri="{FF2B5EF4-FFF2-40B4-BE49-F238E27FC236}">
                  <a16:creationId xmlns:a16="http://schemas.microsoft.com/office/drawing/2014/main" id="{17BF5F0E-D8C6-4648-9CF2-0132FDB10696}"/>
                </a:ext>
              </a:extLst>
            </p:cNvPr>
            <p:cNvSpPr/>
            <p:nvPr/>
          </p:nvSpPr>
          <p:spPr>
            <a:xfrm>
              <a:off x="4802031" y="2963662"/>
              <a:ext cx="312082" cy="293807"/>
            </a:xfrm>
            <a:prstGeom prst="flowChartDelay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36" name="Flowchart: Delay 35">
              <a:extLst>
                <a:ext uri="{FF2B5EF4-FFF2-40B4-BE49-F238E27FC236}">
                  <a16:creationId xmlns:a16="http://schemas.microsoft.com/office/drawing/2014/main" id="{CBC2043C-E871-4A78-9F85-023E59265BE3}"/>
                </a:ext>
              </a:extLst>
            </p:cNvPr>
            <p:cNvSpPr/>
            <p:nvPr/>
          </p:nvSpPr>
          <p:spPr>
            <a:xfrm>
              <a:off x="4802031" y="3290559"/>
              <a:ext cx="312082" cy="293807"/>
            </a:xfrm>
            <a:prstGeom prst="flowChartDelay">
              <a:avLst/>
            </a:prstGeom>
            <a:solidFill>
              <a:srgbClr val="FFFF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37" name="Flowchart: Delay 36">
              <a:extLst>
                <a:ext uri="{FF2B5EF4-FFF2-40B4-BE49-F238E27FC236}">
                  <a16:creationId xmlns:a16="http://schemas.microsoft.com/office/drawing/2014/main" id="{DB83A1F0-2129-458E-A26D-C362C7118F16}"/>
                </a:ext>
              </a:extLst>
            </p:cNvPr>
            <p:cNvSpPr/>
            <p:nvPr/>
          </p:nvSpPr>
          <p:spPr>
            <a:xfrm>
              <a:off x="4802031" y="3627395"/>
              <a:ext cx="312082" cy="293807"/>
            </a:xfrm>
            <a:prstGeom prst="flowChartDelay">
              <a:avLst/>
            </a:prstGeom>
            <a:solidFill>
              <a:srgbClr val="F78609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sp>
          <p:nvSpPr>
            <p:cNvPr id="38" name="Flowchart: Delay 37">
              <a:extLst>
                <a:ext uri="{FF2B5EF4-FFF2-40B4-BE49-F238E27FC236}">
                  <a16:creationId xmlns:a16="http://schemas.microsoft.com/office/drawing/2014/main" id="{1378B0BF-355F-4B57-B589-442250D0ED31}"/>
                </a:ext>
              </a:extLst>
            </p:cNvPr>
            <p:cNvSpPr/>
            <p:nvPr/>
          </p:nvSpPr>
          <p:spPr>
            <a:xfrm>
              <a:off x="4802031" y="3934413"/>
              <a:ext cx="312082" cy="293807"/>
            </a:xfrm>
            <a:prstGeom prst="flowChartDelay">
              <a:avLst/>
            </a:prstGeom>
            <a:solidFill>
              <a:srgbClr val="FF0000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c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BC162BF-6F13-4376-A083-5FDE71C849A4}"/>
                </a:ext>
              </a:extLst>
            </p:cNvPr>
            <p:cNvSpPr txBox="1"/>
            <p:nvPr/>
          </p:nvSpPr>
          <p:spPr>
            <a:xfrm>
              <a:off x="4766174" y="2975272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2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AD5161C-69E6-4272-828B-5BED97A280BA}"/>
                </a:ext>
              </a:extLst>
            </p:cNvPr>
            <p:cNvSpPr txBox="1"/>
            <p:nvPr/>
          </p:nvSpPr>
          <p:spPr>
            <a:xfrm>
              <a:off x="4783679" y="3302169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b1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05024C1-74D5-4506-BCA4-CF875FF339AC}"/>
                </a:ext>
              </a:extLst>
            </p:cNvPr>
            <p:cNvSpPr txBox="1"/>
            <p:nvPr/>
          </p:nvSpPr>
          <p:spPr>
            <a:xfrm>
              <a:off x="4783679" y="3675910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b2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32AAD08-45B2-457D-8AE9-CCFFA2AD2983}"/>
                </a:ext>
              </a:extLst>
            </p:cNvPr>
            <p:cNvSpPr txBox="1"/>
            <p:nvPr/>
          </p:nvSpPr>
          <p:spPr>
            <a:xfrm>
              <a:off x="4783679" y="2636721"/>
              <a:ext cx="3477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a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4620620-29C7-4E1C-ACA7-FDA33112F5BD}"/>
                </a:ext>
              </a:extLst>
            </p:cNvPr>
            <p:cNvSpPr txBox="1"/>
            <p:nvPr/>
          </p:nvSpPr>
          <p:spPr>
            <a:xfrm>
              <a:off x="5003947" y="4299915"/>
              <a:ext cx="2126426" cy="323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/>
                <a:t>Final Grant Rating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BE227E77-3B0A-41E1-A90A-793DD268CFFD}"/>
                </a:ext>
              </a:extLst>
            </p:cNvPr>
            <p:cNvCxnSpPr>
              <a:cxnSpLocks/>
              <a:stCxn id="7" idx="2"/>
            </p:cNvCxnSpPr>
            <p:nvPr/>
          </p:nvCxnSpPr>
          <p:spPr>
            <a:xfrm>
              <a:off x="5909893" y="2416797"/>
              <a:ext cx="4917" cy="219924"/>
            </a:xfrm>
            <a:prstGeom prst="straightConnector1">
              <a:avLst/>
            </a:prstGeom>
            <a:ln w="57150">
              <a:solidFill>
                <a:schemeClr val="accent3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F1902F42-5146-4E58-B4C4-55CA7BDA983C}"/>
                </a:ext>
              </a:extLst>
            </p:cNvPr>
            <p:cNvSpPr/>
            <p:nvPr/>
          </p:nvSpPr>
          <p:spPr>
            <a:xfrm>
              <a:off x="7359602" y="1002005"/>
              <a:ext cx="1190118" cy="1281683"/>
            </a:xfrm>
            <a:prstGeom prst="rect">
              <a:avLst/>
            </a:prstGeom>
            <a:solidFill>
              <a:srgbClr val="0070C0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Annual Funding Disburse. Decision</a:t>
              </a:r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C06C20C-9782-4CD9-926D-2FEED1880109}"/>
                </a:ext>
              </a:extLst>
            </p:cNvPr>
            <p:cNvCxnSpPr>
              <a:cxnSpLocks/>
              <a:stCxn id="7" idx="3"/>
              <a:endCxn id="46" idx="1"/>
            </p:cNvCxnSpPr>
            <p:nvPr/>
          </p:nvCxnSpPr>
          <p:spPr>
            <a:xfrm>
              <a:off x="6901145" y="1633289"/>
              <a:ext cx="458457" cy="9558"/>
            </a:xfrm>
            <a:prstGeom prst="straightConnector1">
              <a:avLst/>
            </a:prstGeom>
            <a:ln w="57150">
              <a:solidFill>
                <a:schemeClr val="accent3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FA3FB888-BB42-4DC4-BF7F-A2F16510B678}"/>
                </a:ext>
              </a:extLst>
            </p:cNvPr>
            <p:cNvCxnSpPr>
              <a:cxnSpLocks/>
              <a:stCxn id="15" idx="3"/>
              <a:endCxn id="7" idx="1"/>
            </p:cNvCxnSpPr>
            <p:nvPr/>
          </p:nvCxnSpPr>
          <p:spPr>
            <a:xfrm>
              <a:off x="4344827" y="1472802"/>
              <a:ext cx="573814" cy="160487"/>
            </a:xfrm>
            <a:prstGeom prst="straightConnector1">
              <a:avLst/>
            </a:prstGeom>
            <a:ln w="57150">
              <a:solidFill>
                <a:schemeClr val="accent3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01A743D4-DBBF-4A8E-BBD2-DAF02460124F}"/>
                </a:ext>
              </a:extLst>
            </p:cNvPr>
            <p:cNvCxnSpPr>
              <a:cxnSpLocks/>
              <a:stCxn id="13" idx="3"/>
              <a:endCxn id="15" idx="1"/>
            </p:cNvCxnSpPr>
            <p:nvPr/>
          </p:nvCxnSpPr>
          <p:spPr>
            <a:xfrm>
              <a:off x="2423998" y="1415000"/>
              <a:ext cx="515804" cy="57802"/>
            </a:xfrm>
            <a:prstGeom prst="straightConnector1">
              <a:avLst/>
            </a:prstGeom>
            <a:ln w="57150">
              <a:solidFill>
                <a:schemeClr val="accent3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130">
              <a:extLst>
                <a:ext uri="{FF2B5EF4-FFF2-40B4-BE49-F238E27FC236}">
                  <a16:creationId xmlns:a16="http://schemas.microsoft.com/office/drawing/2014/main" id="{152E29C4-6329-4372-AA76-F295D12DFAA6}"/>
                </a:ext>
              </a:extLst>
            </p:cNvPr>
            <p:cNvCxnSpPr>
              <a:cxnSpLocks/>
              <a:stCxn id="59" idx="2"/>
            </p:cNvCxnSpPr>
            <p:nvPr/>
          </p:nvCxnSpPr>
          <p:spPr>
            <a:xfrm rot="16200000" flipH="1">
              <a:off x="2599087" y="1970781"/>
              <a:ext cx="1475146" cy="3475386"/>
            </a:xfrm>
            <a:prstGeom prst="bentConnector2">
              <a:avLst/>
            </a:prstGeom>
            <a:ln w="38100">
              <a:solidFill>
                <a:schemeClr val="bg1">
                  <a:lumMod val="65000"/>
                </a:schemeClr>
              </a:solidFill>
              <a:prstDash val="sysDot"/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18CF41C-8456-485C-BA34-BA772E96768F}"/>
                </a:ext>
              </a:extLst>
            </p:cNvPr>
            <p:cNvGrpSpPr/>
            <p:nvPr/>
          </p:nvGrpSpPr>
          <p:grpSpPr>
            <a:xfrm>
              <a:off x="7416710" y="3062824"/>
              <a:ext cx="402608" cy="207510"/>
              <a:chOff x="6480811" y="1872481"/>
              <a:chExt cx="402372" cy="207388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77EE1E2-3DCD-47DF-9334-5C4F732E399D}"/>
                  </a:ext>
                </a:extLst>
              </p:cNvPr>
              <p:cNvSpPr/>
              <p:nvPr/>
            </p:nvSpPr>
            <p:spPr>
              <a:xfrm>
                <a:off x="6710535" y="1872481"/>
                <a:ext cx="172648" cy="207387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BC131F9E-C135-4FA9-B5CB-AD5EBFB21B9A}"/>
                  </a:ext>
                </a:extLst>
              </p:cNvPr>
              <p:cNvSpPr/>
              <p:nvPr/>
            </p:nvSpPr>
            <p:spPr>
              <a:xfrm>
                <a:off x="6480811" y="1872482"/>
                <a:ext cx="172648" cy="207387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000"/>
              </a:p>
            </p:txBody>
          </p:sp>
        </p:grp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C9725A03-A07A-4ABB-8C41-B824B4A2D980}"/>
              </a:ext>
            </a:extLst>
          </p:cNvPr>
          <p:cNvSpPr txBox="1"/>
          <p:nvPr/>
        </p:nvSpPr>
        <p:spPr>
          <a:xfrm>
            <a:off x="1379898" y="900346"/>
            <a:ext cx="155437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b="1" dirty="0">
                <a:solidFill>
                  <a:srgbClr val="4080BF"/>
                </a:solidFill>
              </a:rPr>
              <a:t>Step 1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45FF60D-9C71-4238-9896-224EFCD4C717}"/>
              </a:ext>
            </a:extLst>
          </p:cNvPr>
          <p:cNvSpPr txBox="1"/>
          <p:nvPr/>
        </p:nvSpPr>
        <p:spPr>
          <a:xfrm>
            <a:off x="4151359" y="939257"/>
            <a:ext cx="155437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b="1" dirty="0">
                <a:solidFill>
                  <a:srgbClr val="4080BF"/>
                </a:solidFill>
              </a:rPr>
              <a:t>Step 2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586201F2-E72E-42A5-AA94-B38E7152FEDB}"/>
              </a:ext>
            </a:extLst>
          </p:cNvPr>
          <p:cNvSpPr txBox="1"/>
          <p:nvPr/>
        </p:nvSpPr>
        <p:spPr>
          <a:xfrm>
            <a:off x="7394489" y="728486"/>
            <a:ext cx="155437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b="1" dirty="0">
                <a:solidFill>
                  <a:srgbClr val="4080BF"/>
                </a:solidFill>
              </a:rPr>
              <a:t>Step 3</a:t>
            </a:r>
          </a:p>
        </p:txBody>
      </p:sp>
    </p:spTree>
    <p:extLst>
      <p:ext uri="{BB962C8B-B14F-4D97-AF65-F5344CB8AC3E}">
        <p14:creationId xmlns:p14="http://schemas.microsoft.com/office/powerpoint/2010/main" val="3992789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LjLtwnQNSalcPY8uvL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ciUEQ.S42kOBG7hc8p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pmBqZAQbiHSFLmToZyXA"/>
</p:tagLst>
</file>

<file path=ppt/theme/theme1.xml><?xml version="1.0" encoding="utf-8"?>
<a:theme xmlns:a="http://schemas.openxmlformats.org/drawingml/2006/main" name="Office Theme">
  <a:themeElements>
    <a:clrScheme name="GF Red">
      <a:dk1>
        <a:srgbClr val="404040"/>
      </a:dk1>
      <a:lt1>
        <a:sysClr val="window" lastClr="FFFFFF"/>
      </a:lt1>
      <a:dk2>
        <a:srgbClr val="F9E9EA"/>
      </a:dk2>
      <a:lt2>
        <a:srgbClr val="CD202C"/>
      </a:lt2>
      <a:accent1>
        <a:srgbClr val="EBB2B6"/>
      </a:accent1>
      <a:accent2>
        <a:srgbClr val="DE7B82"/>
      </a:accent2>
      <a:accent3>
        <a:srgbClr val="D34F59"/>
      </a:accent3>
      <a:accent4>
        <a:srgbClr val="FF7F45"/>
      </a:accent4>
      <a:accent5>
        <a:srgbClr val="9A996E"/>
      </a:accent5>
      <a:accent6>
        <a:srgbClr val="00B9E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2.xml><?xml version="1.0" encoding="utf-8"?>
<a:theme xmlns:a="http://schemas.openxmlformats.org/drawingml/2006/main" name="AIDS 2016_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ADBD3347-1A0F-45F0-B4B5-B886B317FA11}" vid="{2289ECF3-0365-4EFC-8344-95011E66FDF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TemplafySlideTemplateConfiguration><![CDATA[{"elementsMetadata":[],"documentContentValidatorConfiguration":{"enableDocumentContentValidator":false,"documentContentValidatorVersion":0},"slideId":"636875556392021431","enableDocumentContentUpdater":true,"version":"1.4"}]]></TemplafySlideTemplateConfiguration>
</file>

<file path=customXml/item2.xml><?xml version="1.0" encoding="utf-8"?>
<TemplafySlideTemplateConfiguration><![CDATA[{"elementsMetadata":[],"documentContentValidatorConfiguration":{"enableDocumentContentValidator":false,"documentContentValidatorVersion":0},"slideId":"636875556392021432","enableDocumentContentUpdater":true,"version":"1.4"}]]></TemplafySlideTemplateConfiguration>
</file>

<file path=customXml/item3.xml><?xml version="1.0" encoding="utf-8"?>
<TemplafyFormConfiguration><![CDATA[{"formFields":[{"dataSource":"ColourThemes","displayColumn":"displayName","hideIfNoUserInteractionRequired":false,"distinct":true,"required":true,"defaultValue":"3","autoSelectFirstOption":false,"type":"dropDown","name":"ColourTheme","label":"Colour theme","helpTexts":{"prefix":"","postfix":""},"spacing":{},"fullyQualifiedName":"ColourTheme"}],"formDataEntries":[{"name":"ColourTheme","value":"moImUkoUs9WgCwn0eGdZtw=="}]}]]></Templafy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elementsMetadata":[],"documentContentValidatorConfiguration":{"enableDocumentContentValidator":false,"documentContentValidatorVersion":0},"slideId":"636875556392021433","enableDocumentContentUpdater":true,"version":"1.4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TemplateConfiguration><![CDATA[{"elementsMetadata":[],"transformationConfigurations":[{"colorTheme":"{{Form.ColourTheme.ThemeName}}","originalColorThemeXml":"<a:clrScheme name=\"GF Dark blue\" xmlns:a=\"http://schemas.openxmlformats.org/drawingml/2006/main\"><a:dk1><a:srgbClr val=\"404040\" /></a:dk1><a:lt1><a:sysClr val=\"window\" lastClr=\"FFFFFF\" /></a:lt1><a:dk2><a:srgbClr val=\"E6ECF1\" /></a:dk2><a:lt2><a:srgbClr val=\"003F72\" /></a:lt2><a:accent1><a:srgbClr val=\"A7BCCD\" /></a:accent1><a:accent2><a:srgbClr val=\"688CA9\" /></a:accent2><a:accent3><a:srgbClr val=\"36668D\" /></a:accent3><a:accent4><a:srgbClr val=\"69BE28\" /></a:accent4><a:accent5><a:srgbClr val=\"9A996E\" /></a:accent5><a:accent6><a:srgbClr val=\"C6AC0F\" /></a:accent6><a:hlink><a:srgbClr val=\"0563C1\" /></a:hlink><a:folHlink><a:srgbClr val=\"954F72\" /></a:folHlink></a:clrScheme>","disableUpdates":false,"type":"colorTheme"}],"templateName":"Presentation Template","templateDescription":"Create your new presentation","enableDocumentContentUpdater":true,"version":"1.4"}]]></TemplafyTemplateConfiguration>
</file>

<file path=customXml/itemProps1.xml><?xml version="1.0" encoding="utf-8"?>
<ds:datastoreItem xmlns:ds="http://schemas.openxmlformats.org/officeDocument/2006/customXml" ds:itemID="{ECE803D5-70CF-46A6-9C31-034CB830153E}">
  <ds:schemaRefs/>
</ds:datastoreItem>
</file>

<file path=customXml/itemProps2.xml><?xml version="1.0" encoding="utf-8"?>
<ds:datastoreItem xmlns:ds="http://schemas.openxmlformats.org/officeDocument/2006/customXml" ds:itemID="{7CA73F04-950C-4CFD-9E8E-D08012BFDE95}">
  <ds:schemaRefs/>
</ds:datastoreItem>
</file>

<file path=customXml/itemProps3.xml><?xml version="1.0" encoding="utf-8"?>
<ds:datastoreItem xmlns:ds="http://schemas.openxmlformats.org/officeDocument/2006/customXml" ds:itemID="{13ECF7A9-6944-4410-8C05-7008EB1A1CCB}">
  <ds:schemaRefs/>
</ds:datastoreItem>
</file>

<file path=customXml/itemProps4.xml><?xml version="1.0" encoding="utf-8"?>
<ds:datastoreItem xmlns:ds="http://schemas.openxmlformats.org/officeDocument/2006/customXml" ds:itemID="{8EC1DB30-3F68-4530-AC49-082AAEF187AC}">
  <ds:schemaRefs/>
</ds:datastoreItem>
</file>

<file path=customXml/itemProps5.xml><?xml version="1.0" encoding="utf-8"?>
<ds:datastoreItem xmlns:ds="http://schemas.openxmlformats.org/officeDocument/2006/customXml" ds:itemID="{ED91A7B3-DB39-4767-8079-E63E46AE1DD8}">
  <ds:schemaRefs/>
</ds:datastoreItem>
</file>

<file path=customXml/itemProps6.xml><?xml version="1.0" encoding="utf-8"?>
<ds:datastoreItem xmlns:ds="http://schemas.openxmlformats.org/officeDocument/2006/customXml" ds:itemID="{D29A6C94-9701-4A7B-A671-FF01AA29C7BC}">
  <ds:schemaRefs/>
</ds:datastoreItem>
</file>

<file path=customXml/itemProps7.xml><?xml version="1.0" encoding="utf-8"?>
<ds:datastoreItem xmlns:ds="http://schemas.openxmlformats.org/officeDocument/2006/customXml" ds:itemID="{72BFDC46-61B8-4415-826F-AFF721AFB5E7}">
  <ds:schemaRefs/>
</ds:datastoreItem>
</file>

<file path=customXml/itemProps8.xml><?xml version="1.0" encoding="utf-8"?>
<ds:datastoreItem xmlns:ds="http://schemas.openxmlformats.org/officeDocument/2006/customXml" ds:itemID="{B6E8F134-9207-4F8F-A6F2-C951EBA283F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30</TotalTime>
  <Words>764</Words>
  <Application>Microsoft Office PowerPoint</Application>
  <PresentationFormat>Widescreen</PresentationFormat>
  <Paragraphs>238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Raleway</vt:lpstr>
      <vt:lpstr>Arial</vt:lpstr>
      <vt:lpstr>Calibri</vt:lpstr>
      <vt:lpstr>Franklin Gothic Book</vt:lpstr>
      <vt:lpstr>Wingdings</vt:lpstr>
      <vt:lpstr>Office Theme</vt:lpstr>
      <vt:lpstr>AIDS 2016_Template</vt:lpstr>
      <vt:lpstr>think-cell Slide</vt:lpstr>
      <vt:lpstr>How are programmes specifically  designed using collected data? </vt:lpstr>
      <vt:lpstr>Outline</vt:lpstr>
      <vt:lpstr>PowerPoint Presentation</vt:lpstr>
      <vt:lpstr>PowerPoint Presentation</vt:lpstr>
      <vt:lpstr>PowerPoint Presentation</vt:lpstr>
      <vt:lpstr>Data and Analytics (DnA):   Central interactive portal for grant management data</vt:lpstr>
      <vt:lpstr>HIV data used for fund allocation</vt:lpstr>
      <vt:lpstr>Data collection and use  at various stages of grant lifecycle </vt:lpstr>
      <vt:lpstr>PowerPoint Presentation</vt:lpstr>
      <vt:lpstr>Lesotho : Use data to drive policy change</vt:lpstr>
      <vt:lpstr>Community-based monitoring</vt:lpstr>
      <vt:lpstr>Way forwards</vt:lpstr>
      <vt:lpstr>Acknowledg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erprise Portfolio Review:  Accelerating HIV incidence reduction</dc:title>
  <dc:creator>Michael Olszak-Olszewski</dc:creator>
  <cp:lastModifiedBy>Osamu Kunii</cp:lastModifiedBy>
  <cp:revision>209</cp:revision>
  <cp:lastPrinted>2019-07-19T17:16:24Z</cp:lastPrinted>
  <dcterms:created xsi:type="dcterms:W3CDTF">2018-11-20T21:10:42Z</dcterms:created>
  <dcterms:modified xsi:type="dcterms:W3CDTF">2019-07-23T12:3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9-04-10T16:11:51.7976628Z</vt:lpwstr>
  </property>
  <property fmtid="{D5CDD505-2E9C-101B-9397-08002B2CF9AE}" pid="3" name="TemplafyTenantId">
    <vt:lpwstr>theglobalfund</vt:lpwstr>
  </property>
  <property fmtid="{D5CDD505-2E9C-101B-9397-08002B2CF9AE}" pid="4" name="TemplafyTemplateId">
    <vt:lpwstr>636898181368802824</vt:lpwstr>
  </property>
  <property fmtid="{D5CDD505-2E9C-101B-9397-08002B2CF9AE}" pid="5" name="TemplafyUserProfileId">
    <vt:lpwstr>636916283880391332</vt:lpwstr>
  </property>
  <property fmtid="{D5CDD505-2E9C-101B-9397-08002B2CF9AE}" pid="6" name="TemplafyLanguageCode">
    <vt:lpwstr>en-US</vt:lpwstr>
  </property>
</Properties>
</file>